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xml" ContentType="application/vnd.openxmlformats-officedocument.presentationml.tags+xml"/>
  <Override PartName="/ppt/notesSlides/notesSlide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1"/>
  </p:sldMasterIdLst>
  <p:notesMasterIdLst>
    <p:notesMasterId r:id="rId32"/>
  </p:notesMasterIdLst>
  <p:handoutMasterIdLst>
    <p:handoutMasterId r:id="rId33"/>
  </p:handoutMasterIdLst>
  <p:sldIdLst>
    <p:sldId id="491" r:id="rId2"/>
    <p:sldId id="502" r:id="rId3"/>
    <p:sldId id="509" r:id="rId4"/>
    <p:sldId id="350" r:id="rId5"/>
    <p:sldId id="349" r:id="rId6"/>
    <p:sldId id="507" r:id="rId7"/>
    <p:sldId id="506" r:id="rId8"/>
    <p:sldId id="499" r:id="rId9"/>
    <p:sldId id="353" r:id="rId10"/>
    <p:sldId id="352" r:id="rId11"/>
    <p:sldId id="508" r:id="rId12"/>
    <p:sldId id="512" r:id="rId13"/>
    <p:sldId id="513" r:id="rId14"/>
    <p:sldId id="358" r:id="rId15"/>
    <p:sldId id="515" r:id="rId16"/>
    <p:sldId id="362" r:id="rId17"/>
    <p:sldId id="363" r:id="rId18"/>
    <p:sldId id="364" r:id="rId19"/>
    <p:sldId id="365" r:id="rId20"/>
    <p:sldId id="505" r:id="rId21"/>
    <p:sldId id="369" r:id="rId22"/>
    <p:sldId id="504" r:id="rId23"/>
    <p:sldId id="370" r:id="rId24"/>
    <p:sldId id="371" r:id="rId25"/>
    <p:sldId id="372" r:id="rId26"/>
    <p:sldId id="373" r:id="rId27"/>
    <p:sldId id="375" r:id="rId28"/>
    <p:sldId id="376" r:id="rId29"/>
    <p:sldId id="377" r:id="rId30"/>
    <p:sldId id="494" r:id="rId31"/>
  </p:sldIdLst>
  <p:sldSz cx="12192000" cy="6858000"/>
  <p:notesSz cx="6858000" cy="9144000"/>
  <p:defaultTextStyle>
    <a:defPPr>
      <a:defRPr lang="sr-Latn-R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9B0"/>
    <a:srgbClr val="FFFFFF"/>
    <a:srgbClr val="036DB5"/>
    <a:srgbClr val="71AB7B"/>
    <a:srgbClr val="70AB7B"/>
    <a:srgbClr val="DDDDDD"/>
    <a:srgbClr val="B3B3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02" autoAdjust="0"/>
    <p:restoredTop sz="88602" autoAdjust="0"/>
  </p:normalViewPr>
  <p:slideViewPr>
    <p:cSldViewPr snapToGrid="0">
      <p:cViewPr varScale="1">
        <p:scale>
          <a:sx n="93" d="100"/>
          <a:sy n="93" d="100"/>
        </p:scale>
        <p:origin x="102" y="258"/>
      </p:cViewPr>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dgm:t>
        <a:bodyPr/>
        <a:lstStyle/>
        <a:p>
          <a:r>
            <a:rPr lang="en-US" dirty="0"/>
            <a:t>3-person tender committee on electronic tenders (Art. 11) </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41161051-0386-4B70-90AD-40041FB0B137}">
      <dgm:prSet phldrT="[Text]"/>
      <dgm:spPr/>
      <dgm:t>
        <a:bodyPr/>
        <a:lstStyle/>
        <a:p>
          <a:r>
            <a:rPr lang="en-US" dirty="0"/>
            <a:t>Draft Georgia Law</a:t>
          </a:r>
        </a:p>
      </dgm:t>
    </dgm:pt>
    <dgm:pt modelId="{4A745242-8C12-439D-93D6-4F8ED3E8B6DD}" type="parTrans" cxnId="{E3BE3544-3F21-4DBF-9B39-A1D6C18DA29E}">
      <dgm:prSet/>
      <dgm:spPr/>
      <dgm:t>
        <a:bodyPr/>
        <a:lstStyle/>
        <a:p>
          <a:endParaRPr lang="en-US"/>
        </a:p>
      </dgm:t>
    </dgm:pt>
    <dgm:pt modelId="{6335D2FD-DAE2-4DA5-B2F8-1918B3F4A205}" type="sibTrans" cxnId="{E3BE3544-3F21-4DBF-9B39-A1D6C18DA29E}">
      <dgm:prSet/>
      <dgm:spPr/>
      <dgm:t>
        <a:bodyPr/>
        <a:lstStyle/>
        <a:p>
          <a:endParaRPr lang="en-US"/>
        </a:p>
      </dgm:t>
    </dgm:pt>
    <dgm:pt modelId="{10E4015F-5BB5-42BD-9766-1D74A7EB137F}">
      <dgm:prSet phldrT="[Text]"/>
      <dgm:spPr/>
      <dgm:t>
        <a:bodyPr/>
        <a:lstStyle/>
        <a:p>
          <a:r>
            <a:rPr lang="en-US" dirty="0"/>
            <a:t>Addresses personal conflicts of interest of board members</a:t>
          </a:r>
        </a:p>
      </dgm:t>
    </dgm:pt>
    <dgm:pt modelId="{F1A2BAFF-82A7-4B64-8DDE-0A2479FB2EF0}" type="parTrans" cxnId="{0E8E1656-347A-4EEA-AEFA-2428897BDB32}">
      <dgm:prSet/>
      <dgm:spPr/>
      <dgm:t>
        <a:bodyPr/>
        <a:lstStyle/>
        <a:p>
          <a:endParaRPr lang="en-US"/>
        </a:p>
      </dgm:t>
    </dgm:pt>
    <dgm:pt modelId="{25CCF4F2-A357-4097-8F37-3078286900E1}" type="sibTrans" cxnId="{0E8E1656-347A-4EEA-AEFA-2428897BDB32}">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2400" dirty="0"/>
            <a:t>Separating technical and price evaluations boards from senior official making ultimate purchase decision</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3">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3">
        <dgm:presLayoutVars>
          <dgm:bulletEnabled val="1"/>
        </dgm:presLayoutVars>
      </dgm:prSet>
      <dgm:spPr/>
    </dgm:pt>
    <dgm:pt modelId="{18D6530C-184C-40FD-9E8C-7E647FB7D61E}" type="pres">
      <dgm:prSet presAssocID="{8640A470-1C2B-43F7-AE76-86965C5D7E8D}" presName="space" presStyleCnt="0"/>
      <dgm:spPr/>
    </dgm:pt>
    <dgm:pt modelId="{A3F9B3E3-683E-4AC0-B8A0-DFC21C9E00B1}" type="pres">
      <dgm:prSet presAssocID="{41161051-0386-4B70-90AD-40041FB0B137}" presName="composite" presStyleCnt="0"/>
      <dgm:spPr/>
    </dgm:pt>
    <dgm:pt modelId="{8E6D5C47-3AC7-4A32-A37A-EB161483C401}" type="pres">
      <dgm:prSet presAssocID="{41161051-0386-4B70-90AD-40041FB0B137}" presName="parTx" presStyleLbl="alignNode1" presStyleIdx="1" presStyleCnt="3">
        <dgm:presLayoutVars>
          <dgm:chMax val="0"/>
          <dgm:chPref val="0"/>
          <dgm:bulletEnabled val="1"/>
        </dgm:presLayoutVars>
      </dgm:prSet>
      <dgm:spPr/>
    </dgm:pt>
    <dgm:pt modelId="{AE4847B9-13D2-4C12-A199-E437ADF0E1F4}" type="pres">
      <dgm:prSet presAssocID="{41161051-0386-4B70-90AD-40041FB0B137}" presName="desTx" presStyleLbl="alignAccFollowNode1" presStyleIdx="1" presStyleCnt="3">
        <dgm:presLayoutVars>
          <dgm:bulletEnabled val="1"/>
        </dgm:presLayoutVars>
      </dgm:prSet>
      <dgm:spPr/>
    </dgm:pt>
    <dgm:pt modelId="{DB09372A-2A6F-41F7-9F27-80DCB253287F}" type="pres">
      <dgm:prSet presAssocID="{6335D2FD-DAE2-4DA5-B2F8-1918B3F4A205}"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2" presStyleCnt="3">
        <dgm:presLayoutVars>
          <dgm:chMax val="0"/>
          <dgm:chPref val="0"/>
          <dgm:bulletEnabled val="1"/>
        </dgm:presLayoutVars>
      </dgm:prSet>
      <dgm:spPr/>
    </dgm:pt>
    <dgm:pt modelId="{B2C70EFF-4051-4816-AE4A-923F1EEA1C36}" type="pres">
      <dgm:prSet presAssocID="{6F7C8442-B13B-4D30-8798-EDEDB9B8E102}" presName="desTx" presStyleLbl="alignAccFollowNode1" presStyleIdx="2" presStyleCnt="3">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02E7072A-C983-421E-8D26-301A24A31229}" type="presOf" srcId="{39831F26-8588-43A9-9F7B-A828F1486D75}" destId="{5CAF11CE-342C-467A-A028-F3068E4AC0A9}" srcOrd="0" destOrd="0" presId="urn:microsoft.com/office/officeart/2005/8/layout/hList1"/>
    <dgm:cxn modelId="{8FEDD642-5859-4619-B020-1A41F6277863}" srcId="{39831F26-8588-43A9-9F7B-A828F1486D75}" destId="{6F7C8442-B13B-4D30-8798-EDEDB9B8E102}" srcOrd="2" destOrd="0" parTransId="{FF6A6C7B-A3FB-4A25-A6C0-18DD7CA47893}" sibTransId="{572E4B8C-DC93-4951-A53A-CD2AFE7ACD53}"/>
    <dgm:cxn modelId="{E3BE3544-3F21-4DBF-9B39-A1D6C18DA29E}" srcId="{39831F26-8588-43A9-9F7B-A828F1486D75}" destId="{41161051-0386-4B70-90AD-40041FB0B137}" srcOrd="1" destOrd="0" parTransId="{4A745242-8C12-439D-93D6-4F8ED3E8B6DD}" sibTransId="{6335D2FD-DAE2-4DA5-B2F8-1918B3F4A205}"/>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0E8E1656-347A-4EEA-AEFA-2428897BDB32}" srcId="{41161051-0386-4B70-90AD-40041FB0B137}" destId="{10E4015F-5BB5-42BD-9766-1D74A7EB137F}" srcOrd="0" destOrd="0" parTransId="{F1A2BAFF-82A7-4B64-8DDE-0A2479FB2EF0}" sibTransId="{25CCF4F2-A357-4097-8F37-3078286900E1}"/>
    <dgm:cxn modelId="{6F9E537A-134D-4620-A234-2D54B84B4FAB}" type="presOf" srcId="{41161051-0386-4B70-90AD-40041FB0B137}" destId="{8E6D5C47-3AC7-4A32-A37A-EB161483C401}" srcOrd="0" destOrd="0" presId="urn:microsoft.com/office/officeart/2005/8/layout/hList1"/>
    <dgm:cxn modelId="{97EA7695-F910-4260-876D-883BE34736B9}" type="presOf" srcId="{6F7C8442-B13B-4D30-8798-EDEDB9B8E102}" destId="{C3750E5D-B8B6-4E37-85C4-FF8FA966C67E}" srcOrd="0" destOrd="0" presId="urn:microsoft.com/office/officeart/2005/8/layout/hList1"/>
    <dgm:cxn modelId="{B35FF1AB-6861-4044-873A-7E2873BD5808}" type="presOf" srcId="{10E4015F-5BB5-42BD-9766-1D74A7EB137F}" destId="{AE4847B9-13D2-4C12-A199-E437ADF0E1F4}" srcOrd="0" destOrd="0" presId="urn:microsoft.com/office/officeart/2005/8/layout/hList1"/>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7CC3BB43-271B-4B64-889E-D9B9E3F6CB2E}" type="presParOf" srcId="{5CAF11CE-342C-467A-A028-F3068E4AC0A9}" destId="{A3F9B3E3-683E-4AC0-B8A0-DFC21C9E00B1}" srcOrd="2" destOrd="0" presId="urn:microsoft.com/office/officeart/2005/8/layout/hList1"/>
    <dgm:cxn modelId="{E6036043-3B42-4B9C-B00F-1400D6860A0E}" type="presParOf" srcId="{A3F9B3E3-683E-4AC0-B8A0-DFC21C9E00B1}" destId="{8E6D5C47-3AC7-4A32-A37A-EB161483C401}" srcOrd="0" destOrd="0" presId="urn:microsoft.com/office/officeart/2005/8/layout/hList1"/>
    <dgm:cxn modelId="{D8348EAF-E2DD-4EE3-BD38-97AAD9C9DF40}" type="presParOf" srcId="{A3F9B3E3-683E-4AC0-B8A0-DFC21C9E00B1}" destId="{AE4847B9-13D2-4C12-A199-E437ADF0E1F4}" srcOrd="1" destOrd="0" presId="urn:microsoft.com/office/officeart/2005/8/layout/hList1"/>
    <dgm:cxn modelId="{401D928D-6209-4EA7-9D89-979A5AC2B26B}" type="presParOf" srcId="{5CAF11CE-342C-467A-A028-F3068E4AC0A9}" destId="{DB09372A-2A6F-41F7-9F27-80DCB253287F}" srcOrd="3" destOrd="0" presId="urn:microsoft.com/office/officeart/2005/8/layout/hList1"/>
    <dgm:cxn modelId="{FF24F695-0E4F-46E9-B986-F6C308538F27}" type="presParOf" srcId="{5CAF11CE-342C-467A-A028-F3068E4AC0A9}" destId="{7F117BCF-9754-40F0-87AB-F69BDFC53F6A}" srcOrd="4"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36E4C23C-F9BD-40C6-A897-126521120EE2}" type="doc">
      <dgm:prSet loTypeId="urn:microsoft.com/office/officeart/2005/8/layout/arrow5" loCatId="process" qsTypeId="urn:microsoft.com/office/officeart/2005/8/quickstyle/simple1" qsCatId="simple" csTypeId="urn:microsoft.com/office/officeart/2005/8/colors/accent1_2" csCatId="accent1" phldr="1"/>
      <dgm:spPr/>
      <dgm:t>
        <a:bodyPr/>
        <a:lstStyle/>
        <a:p>
          <a:endParaRPr lang="en-US"/>
        </a:p>
      </dgm:t>
    </dgm:pt>
    <dgm:pt modelId="{16A4A4FB-3481-48F5-8892-3C3FE235F943}">
      <dgm:prSet phldrT="[Text]"/>
      <dgm:spPr>
        <a:solidFill>
          <a:srgbClr val="FF0000"/>
        </a:solidFill>
      </dgm:spPr>
      <dgm:t>
        <a:bodyPr/>
        <a:lstStyle/>
        <a:p>
          <a:r>
            <a:rPr lang="en-US" dirty="0"/>
            <a:t>Country 1:</a:t>
          </a:r>
        </a:p>
        <a:p>
          <a:r>
            <a:rPr lang="en-US" dirty="0"/>
            <a:t>Debarment</a:t>
          </a:r>
        </a:p>
      </dgm:t>
    </dgm:pt>
    <dgm:pt modelId="{E61243AD-B36F-4A98-B59F-D8D4B9BDA20E}" type="parTrans" cxnId="{FE573A7D-455B-40EE-99A5-FCD3048D57F3}">
      <dgm:prSet/>
      <dgm:spPr/>
      <dgm:t>
        <a:bodyPr/>
        <a:lstStyle/>
        <a:p>
          <a:endParaRPr lang="en-US"/>
        </a:p>
      </dgm:t>
    </dgm:pt>
    <dgm:pt modelId="{476BFC83-F6A0-44A7-B23C-98430FD5E7F8}" type="sibTrans" cxnId="{FE573A7D-455B-40EE-99A5-FCD3048D57F3}">
      <dgm:prSet/>
      <dgm:spPr/>
      <dgm:t>
        <a:bodyPr/>
        <a:lstStyle/>
        <a:p>
          <a:endParaRPr lang="en-US"/>
        </a:p>
      </dgm:t>
    </dgm:pt>
    <dgm:pt modelId="{4A76B4BD-76A1-4993-8116-6E1DF982DA35}">
      <dgm:prSet phldrT="[Text]"/>
      <dgm:spPr>
        <a:solidFill>
          <a:srgbClr val="00B050"/>
        </a:solidFill>
      </dgm:spPr>
      <dgm:t>
        <a:bodyPr/>
        <a:lstStyle/>
        <a:p>
          <a:r>
            <a:rPr lang="en-US" dirty="0"/>
            <a:t>Country 2:</a:t>
          </a:r>
        </a:p>
        <a:p>
          <a:r>
            <a:rPr lang="en-US" dirty="0"/>
            <a:t>Automatic Effect</a:t>
          </a:r>
        </a:p>
      </dgm:t>
    </dgm:pt>
    <dgm:pt modelId="{39E3FB3C-8D75-4E72-8BFB-E7F505F0C982}" type="parTrans" cxnId="{6541D8C9-4683-490D-81CD-A31869510A4D}">
      <dgm:prSet/>
      <dgm:spPr/>
      <dgm:t>
        <a:bodyPr/>
        <a:lstStyle/>
        <a:p>
          <a:endParaRPr lang="en-US"/>
        </a:p>
      </dgm:t>
    </dgm:pt>
    <dgm:pt modelId="{C5B83ADD-FDBF-4F45-8C06-7E3AFD20FA5C}" type="sibTrans" cxnId="{6541D8C9-4683-490D-81CD-A31869510A4D}">
      <dgm:prSet/>
      <dgm:spPr/>
      <dgm:t>
        <a:bodyPr/>
        <a:lstStyle/>
        <a:p>
          <a:endParaRPr lang="en-US"/>
        </a:p>
      </dgm:t>
    </dgm:pt>
    <dgm:pt modelId="{CE934359-1379-4F93-9253-7DC9F3B5158F}" type="pres">
      <dgm:prSet presAssocID="{36E4C23C-F9BD-40C6-A897-126521120EE2}" presName="diagram" presStyleCnt="0">
        <dgm:presLayoutVars>
          <dgm:dir/>
          <dgm:resizeHandles val="exact"/>
        </dgm:presLayoutVars>
      </dgm:prSet>
      <dgm:spPr/>
    </dgm:pt>
    <dgm:pt modelId="{8A61EC63-938C-4ABF-A3E0-ACE82C35E6D0}" type="pres">
      <dgm:prSet presAssocID="{16A4A4FB-3481-48F5-8892-3C3FE235F943}" presName="arrow" presStyleLbl="node1" presStyleIdx="0" presStyleCnt="2">
        <dgm:presLayoutVars>
          <dgm:bulletEnabled val="1"/>
        </dgm:presLayoutVars>
      </dgm:prSet>
      <dgm:spPr/>
    </dgm:pt>
    <dgm:pt modelId="{13DD1D39-21AA-4E21-BFF5-DB50CC39BE61}" type="pres">
      <dgm:prSet presAssocID="{4A76B4BD-76A1-4993-8116-6E1DF982DA35}" presName="arrow" presStyleLbl="node1" presStyleIdx="1" presStyleCnt="2">
        <dgm:presLayoutVars>
          <dgm:bulletEnabled val="1"/>
        </dgm:presLayoutVars>
      </dgm:prSet>
      <dgm:spPr/>
    </dgm:pt>
  </dgm:ptLst>
  <dgm:cxnLst>
    <dgm:cxn modelId="{DB5C742F-0E4E-48F1-AC5D-B0EE947E22E5}" type="presOf" srcId="{4A76B4BD-76A1-4993-8116-6E1DF982DA35}" destId="{13DD1D39-21AA-4E21-BFF5-DB50CC39BE61}" srcOrd="0" destOrd="0" presId="urn:microsoft.com/office/officeart/2005/8/layout/arrow5"/>
    <dgm:cxn modelId="{841A1555-6DB4-4AE6-B45F-02FA7A4F0DDA}" type="presOf" srcId="{16A4A4FB-3481-48F5-8892-3C3FE235F943}" destId="{8A61EC63-938C-4ABF-A3E0-ACE82C35E6D0}" srcOrd="0" destOrd="0" presId="urn:microsoft.com/office/officeart/2005/8/layout/arrow5"/>
    <dgm:cxn modelId="{FE573A7D-455B-40EE-99A5-FCD3048D57F3}" srcId="{36E4C23C-F9BD-40C6-A897-126521120EE2}" destId="{16A4A4FB-3481-48F5-8892-3C3FE235F943}" srcOrd="0" destOrd="0" parTransId="{E61243AD-B36F-4A98-B59F-D8D4B9BDA20E}" sibTransId="{476BFC83-F6A0-44A7-B23C-98430FD5E7F8}"/>
    <dgm:cxn modelId="{BB85DCC8-0ABA-44EC-84F1-8FBD96343675}" type="presOf" srcId="{36E4C23C-F9BD-40C6-A897-126521120EE2}" destId="{CE934359-1379-4F93-9253-7DC9F3B5158F}" srcOrd="0" destOrd="0" presId="urn:microsoft.com/office/officeart/2005/8/layout/arrow5"/>
    <dgm:cxn modelId="{6541D8C9-4683-490D-81CD-A31869510A4D}" srcId="{36E4C23C-F9BD-40C6-A897-126521120EE2}" destId="{4A76B4BD-76A1-4993-8116-6E1DF982DA35}" srcOrd="1" destOrd="0" parTransId="{39E3FB3C-8D75-4E72-8BFB-E7F505F0C982}" sibTransId="{C5B83ADD-FDBF-4F45-8C06-7E3AFD20FA5C}"/>
    <dgm:cxn modelId="{E5E40754-D5B5-4D2F-BDA5-CC3074C25894}" type="presParOf" srcId="{CE934359-1379-4F93-9253-7DC9F3B5158F}" destId="{8A61EC63-938C-4ABF-A3E0-ACE82C35E6D0}" srcOrd="0" destOrd="0" presId="urn:microsoft.com/office/officeart/2005/8/layout/arrow5"/>
    <dgm:cxn modelId="{61199FA5-EFEC-4156-A958-EEFA79C22DA8}" type="presParOf" srcId="{CE934359-1379-4F93-9253-7DC9F3B5158F}" destId="{13DD1D39-21AA-4E21-BFF5-DB50CC39BE61}"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9C9EEFD2-F9AA-47D2-AE76-9FB768463C92}" type="doc">
      <dgm:prSet loTypeId="urn:microsoft.com/office/officeart/2005/8/layout/list1" loCatId="list" qsTypeId="urn:microsoft.com/office/officeart/2005/8/quickstyle/simple1" qsCatId="simple" csTypeId="urn:microsoft.com/office/officeart/2005/8/colors/colorful2" csCatId="colorful" phldr="1"/>
      <dgm:spPr/>
      <dgm:t>
        <a:bodyPr/>
        <a:lstStyle/>
        <a:p>
          <a:endParaRPr lang="en-US"/>
        </a:p>
      </dgm:t>
    </dgm:pt>
    <dgm:pt modelId="{27205356-ECF0-44E2-B4CF-6212E85079AB}">
      <dgm:prSet phldrT="[Text]"/>
      <dgm:spPr>
        <a:solidFill>
          <a:schemeClr val="accent4"/>
        </a:solidFill>
      </dgm:spPr>
      <dgm:t>
        <a:bodyPr/>
        <a:lstStyle/>
        <a:p>
          <a:r>
            <a:rPr lang="en-US" dirty="0">
              <a:solidFill>
                <a:srgbClr val="FFFF00"/>
              </a:solidFill>
            </a:rPr>
            <a:t>Automatic cross-debarment</a:t>
          </a:r>
        </a:p>
      </dgm:t>
    </dgm:pt>
    <dgm:pt modelId="{D31F87A4-98B0-4A0B-81BB-B1B05D907035}" type="parTrans" cxnId="{A8ECB813-03DA-4DD8-8A15-570EBFCDCF0D}">
      <dgm:prSet/>
      <dgm:spPr/>
      <dgm:t>
        <a:bodyPr/>
        <a:lstStyle/>
        <a:p>
          <a:endParaRPr lang="en-US"/>
        </a:p>
      </dgm:t>
    </dgm:pt>
    <dgm:pt modelId="{74BCFE85-B1A1-41A3-AE44-100823EED7B8}" type="sibTrans" cxnId="{A8ECB813-03DA-4DD8-8A15-570EBFCDCF0D}">
      <dgm:prSet/>
      <dgm:spPr/>
      <dgm:t>
        <a:bodyPr/>
        <a:lstStyle/>
        <a:p>
          <a:endParaRPr lang="en-US"/>
        </a:p>
      </dgm:t>
    </dgm:pt>
    <dgm:pt modelId="{0B9FE841-E8DE-4027-BAC3-44BDED84ECB6}">
      <dgm:prSet phldrT="[Text]"/>
      <dgm:spPr>
        <a:solidFill>
          <a:srgbClr val="7030A0"/>
        </a:solidFill>
      </dgm:spPr>
      <dgm:t>
        <a:bodyPr/>
        <a:lstStyle/>
        <a:p>
          <a:r>
            <a:rPr lang="en-US" dirty="0">
              <a:solidFill>
                <a:srgbClr val="FFFF00"/>
              </a:solidFill>
            </a:rPr>
            <a:t>Exchange list and causes</a:t>
          </a:r>
        </a:p>
      </dgm:t>
    </dgm:pt>
    <dgm:pt modelId="{71577FB9-D332-445C-8AF7-383D72B99AA8}" type="parTrans" cxnId="{C441E7AC-E2A9-42D5-B4B6-738640D581F2}">
      <dgm:prSet/>
      <dgm:spPr/>
      <dgm:t>
        <a:bodyPr/>
        <a:lstStyle/>
        <a:p>
          <a:endParaRPr lang="en-US"/>
        </a:p>
      </dgm:t>
    </dgm:pt>
    <dgm:pt modelId="{CBB3F766-BD75-4BE5-8710-4CFCDE041610}" type="sibTrans" cxnId="{C441E7AC-E2A9-42D5-B4B6-738640D581F2}">
      <dgm:prSet/>
      <dgm:spPr/>
      <dgm:t>
        <a:bodyPr/>
        <a:lstStyle/>
        <a:p>
          <a:endParaRPr lang="en-US"/>
        </a:p>
      </dgm:t>
    </dgm:pt>
    <dgm:pt modelId="{1DF881A8-5C43-40EA-A541-8947A54E0F09}">
      <dgm:prSet/>
      <dgm:spPr>
        <a:solidFill>
          <a:srgbClr val="00B050"/>
        </a:solidFill>
      </dgm:spPr>
      <dgm:t>
        <a:bodyPr/>
        <a:lstStyle/>
        <a:p>
          <a:r>
            <a:rPr lang="en-US" dirty="0">
              <a:solidFill>
                <a:srgbClr val="FFFF00"/>
              </a:solidFill>
            </a:rPr>
            <a:t>Publicly list excluded vendors</a:t>
          </a:r>
        </a:p>
      </dgm:t>
    </dgm:pt>
    <dgm:pt modelId="{B57E3285-6CF6-46FB-88CD-C54562B8705F}" type="parTrans" cxnId="{1E623D22-24F2-4C8A-8BDC-B75006832CAA}">
      <dgm:prSet/>
      <dgm:spPr/>
      <dgm:t>
        <a:bodyPr/>
        <a:lstStyle/>
        <a:p>
          <a:endParaRPr lang="en-US"/>
        </a:p>
      </dgm:t>
    </dgm:pt>
    <dgm:pt modelId="{26FDB30B-DE72-494B-93A3-6695BEBAD11D}" type="sibTrans" cxnId="{1E623D22-24F2-4C8A-8BDC-B75006832CAA}">
      <dgm:prSet/>
      <dgm:spPr/>
      <dgm:t>
        <a:bodyPr/>
        <a:lstStyle/>
        <a:p>
          <a:endParaRPr lang="en-US"/>
        </a:p>
      </dgm:t>
    </dgm:pt>
    <dgm:pt modelId="{9B51A1E3-0B8E-4E97-B794-76722E0C5344}">
      <dgm:prSet/>
      <dgm:spPr>
        <a:solidFill>
          <a:srgbClr val="FF0000"/>
        </a:solidFill>
      </dgm:spPr>
      <dgm:t>
        <a:bodyPr/>
        <a:lstStyle/>
        <a:p>
          <a:r>
            <a:rPr lang="en-US" dirty="0">
              <a:solidFill>
                <a:srgbClr val="FFFF00"/>
              </a:solidFill>
            </a:rPr>
            <a:t>Do nothing</a:t>
          </a:r>
        </a:p>
      </dgm:t>
    </dgm:pt>
    <dgm:pt modelId="{CFA495E6-6453-449C-9253-BDBB42CC796E}" type="parTrans" cxnId="{570ED71B-1513-4B4B-AC66-47795DCDB175}">
      <dgm:prSet/>
      <dgm:spPr/>
      <dgm:t>
        <a:bodyPr/>
        <a:lstStyle/>
        <a:p>
          <a:endParaRPr lang="en-US"/>
        </a:p>
      </dgm:t>
    </dgm:pt>
    <dgm:pt modelId="{D9FC3F09-31A7-45B6-8F8C-384C65845C84}" type="sibTrans" cxnId="{570ED71B-1513-4B4B-AC66-47795DCDB175}">
      <dgm:prSet/>
      <dgm:spPr/>
      <dgm:t>
        <a:bodyPr/>
        <a:lstStyle/>
        <a:p>
          <a:endParaRPr lang="en-US"/>
        </a:p>
      </dgm:t>
    </dgm:pt>
    <dgm:pt modelId="{DB89367D-3C34-406D-B960-F99DE30742FE}" type="pres">
      <dgm:prSet presAssocID="{9C9EEFD2-F9AA-47D2-AE76-9FB768463C92}" presName="linear" presStyleCnt="0">
        <dgm:presLayoutVars>
          <dgm:dir/>
          <dgm:animLvl val="lvl"/>
          <dgm:resizeHandles val="exact"/>
        </dgm:presLayoutVars>
      </dgm:prSet>
      <dgm:spPr/>
    </dgm:pt>
    <dgm:pt modelId="{4D27B15C-E5A8-40CD-8A30-B60588ED68DF}" type="pres">
      <dgm:prSet presAssocID="{27205356-ECF0-44E2-B4CF-6212E85079AB}" presName="parentLin" presStyleCnt="0"/>
      <dgm:spPr/>
    </dgm:pt>
    <dgm:pt modelId="{CD277A8C-2B4A-4E8C-B198-DA6570D50B09}" type="pres">
      <dgm:prSet presAssocID="{27205356-ECF0-44E2-B4CF-6212E85079AB}" presName="parentLeftMargin" presStyleLbl="node1" presStyleIdx="0" presStyleCnt="4"/>
      <dgm:spPr/>
    </dgm:pt>
    <dgm:pt modelId="{6678FB72-09F9-4691-860A-E75F69BA147E}" type="pres">
      <dgm:prSet presAssocID="{27205356-ECF0-44E2-B4CF-6212E85079AB}" presName="parentText" presStyleLbl="node1" presStyleIdx="0" presStyleCnt="4" custLinFactNeighborY="-7137">
        <dgm:presLayoutVars>
          <dgm:chMax val="0"/>
          <dgm:bulletEnabled val="1"/>
        </dgm:presLayoutVars>
      </dgm:prSet>
      <dgm:spPr/>
    </dgm:pt>
    <dgm:pt modelId="{B6F13B23-A44A-479A-AF14-CC36309AFDC1}" type="pres">
      <dgm:prSet presAssocID="{27205356-ECF0-44E2-B4CF-6212E85079AB}" presName="negativeSpace" presStyleCnt="0"/>
      <dgm:spPr/>
    </dgm:pt>
    <dgm:pt modelId="{61D3BD07-A67C-4516-A9C0-DBF791E8163E}" type="pres">
      <dgm:prSet presAssocID="{27205356-ECF0-44E2-B4CF-6212E85079AB}" presName="childText" presStyleLbl="conFgAcc1" presStyleIdx="0" presStyleCnt="4" custLinFactNeighborX="-427" custLinFactNeighborY="-82447">
        <dgm:presLayoutVars>
          <dgm:bulletEnabled val="1"/>
        </dgm:presLayoutVars>
      </dgm:prSet>
      <dgm:spPr/>
    </dgm:pt>
    <dgm:pt modelId="{6422133D-EED1-49C7-A252-E462583420FB}" type="pres">
      <dgm:prSet presAssocID="{74BCFE85-B1A1-41A3-AE44-100823EED7B8}" presName="spaceBetweenRectangles" presStyleCnt="0"/>
      <dgm:spPr/>
    </dgm:pt>
    <dgm:pt modelId="{B1907F7D-1378-436D-A1CB-A15A13F69377}" type="pres">
      <dgm:prSet presAssocID="{0B9FE841-E8DE-4027-BAC3-44BDED84ECB6}" presName="parentLin" presStyleCnt="0"/>
      <dgm:spPr/>
    </dgm:pt>
    <dgm:pt modelId="{197D196B-D4BA-432F-83C2-8A3C52DB6902}" type="pres">
      <dgm:prSet presAssocID="{0B9FE841-E8DE-4027-BAC3-44BDED84ECB6}" presName="parentLeftMargin" presStyleLbl="node1" presStyleIdx="0" presStyleCnt="4"/>
      <dgm:spPr/>
    </dgm:pt>
    <dgm:pt modelId="{5FBE4D6D-2257-4759-8372-5D7114B6D360}" type="pres">
      <dgm:prSet presAssocID="{0B9FE841-E8DE-4027-BAC3-44BDED84ECB6}" presName="parentText" presStyleLbl="node1" presStyleIdx="1" presStyleCnt="4">
        <dgm:presLayoutVars>
          <dgm:chMax val="0"/>
          <dgm:bulletEnabled val="1"/>
        </dgm:presLayoutVars>
      </dgm:prSet>
      <dgm:spPr/>
    </dgm:pt>
    <dgm:pt modelId="{78A33902-3097-4DC1-A10F-E9A34DEA5673}" type="pres">
      <dgm:prSet presAssocID="{0B9FE841-E8DE-4027-BAC3-44BDED84ECB6}" presName="negativeSpace" presStyleCnt="0"/>
      <dgm:spPr/>
    </dgm:pt>
    <dgm:pt modelId="{F6783BD7-F35D-40E8-8015-329D448D9A8A}" type="pres">
      <dgm:prSet presAssocID="{0B9FE841-E8DE-4027-BAC3-44BDED84ECB6}" presName="childText" presStyleLbl="conFgAcc1" presStyleIdx="1" presStyleCnt="4">
        <dgm:presLayoutVars>
          <dgm:bulletEnabled val="1"/>
        </dgm:presLayoutVars>
      </dgm:prSet>
      <dgm:spPr/>
    </dgm:pt>
    <dgm:pt modelId="{C947EFD7-DB05-49F3-B03D-2A705F0A0871}" type="pres">
      <dgm:prSet presAssocID="{CBB3F766-BD75-4BE5-8710-4CFCDE041610}" presName="spaceBetweenRectangles" presStyleCnt="0"/>
      <dgm:spPr/>
    </dgm:pt>
    <dgm:pt modelId="{1FFAF78E-5A7B-49CA-AB6C-9E2279685D90}" type="pres">
      <dgm:prSet presAssocID="{1DF881A8-5C43-40EA-A541-8947A54E0F09}" presName="parentLin" presStyleCnt="0"/>
      <dgm:spPr/>
    </dgm:pt>
    <dgm:pt modelId="{CB1D3736-426E-42E2-A1C7-5FB7AE8BCB76}" type="pres">
      <dgm:prSet presAssocID="{1DF881A8-5C43-40EA-A541-8947A54E0F09}" presName="parentLeftMargin" presStyleLbl="node1" presStyleIdx="1" presStyleCnt="4"/>
      <dgm:spPr/>
    </dgm:pt>
    <dgm:pt modelId="{491CD49C-296B-4FE7-ADDA-C28EDB05F783}" type="pres">
      <dgm:prSet presAssocID="{1DF881A8-5C43-40EA-A541-8947A54E0F09}" presName="parentText" presStyleLbl="node1" presStyleIdx="2" presStyleCnt="4">
        <dgm:presLayoutVars>
          <dgm:chMax val="0"/>
          <dgm:bulletEnabled val="1"/>
        </dgm:presLayoutVars>
      </dgm:prSet>
      <dgm:spPr/>
    </dgm:pt>
    <dgm:pt modelId="{D311E0A7-FA54-466E-A7AB-8C6A7BCE5E4D}" type="pres">
      <dgm:prSet presAssocID="{1DF881A8-5C43-40EA-A541-8947A54E0F09}" presName="negativeSpace" presStyleCnt="0"/>
      <dgm:spPr/>
    </dgm:pt>
    <dgm:pt modelId="{D5F6DF34-ED80-4A82-B3AB-BF4CB3E08015}" type="pres">
      <dgm:prSet presAssocID="{1DF881A8-5C43-40EA-A541-8947A54E0F09}" presName="childText" presStyleLbl="conFgAcc1" presStyleIdx="2" presStyleCnt="4">
        <dgm:presLayoutVars>
          <dgm:bulletEnabled val="1"/>
        </dgm:presLayoutVars>
      </dgm:prSet>
      <dgm:spPr/>
    </dgm:pt>
    <dgm:pt modelId="{656925FA-C50B-4D75-8F7F-D3E787165FBC}" type="pres">
      <dgm:prSet presAssocID="{26FDB30B-DE72-494B-93A3-6695BEBAD11D}" presName="spaceBetweenRectangles" presStyleCnt="0"/>
      <dgm:spPr/>
    </dgm:pt>
    <dgm:pt modelId="{83C93546-3DA8-46EE-9568-E9D48D9D7AB8}" type="pres">
      <dgm:prSet presAssocID="{9B51A1E3-0B8E-4E97-B794-76722E0C5344}" presName="parentLin" presStyleCnt="0"/>
      <dgm:spPr/>
    </dgm:pt>
    <dgm:pt modelId="{98D3CFAD-1036-4AD8-A172-B06D3A33703D}" type="pres">
      <dgm:prSet presAssocID="{9B51A1E3-0B8E-4E97-B794-76722E0C5344}" presName="parentLeftMargin" presStyleLbl="node1" presStyleIdx="2" presStyleCnt="4"/>
      <dgm:spPr/>
    </dgm:pt>
    <dgm:pt modelId="{635968F4-E432-4995-88B1-F150C99CB330}" type="pres">
      <dgm:prSet presAssocID="{9B51A1E3-0B8E-4E97-B794-76722E0C5344}" presName="parentText" presStyleLbl="node1" presStyleIdx="3" presStyleCnt="4">
        <dgm:presLayoutVars>
          <dgm:chMax val="0"/>
          <dgm:bulletEnabled val="1"/>
        </dgm:presLayoutVars>
      </dgm:prSet>
      <dgm:spPr/>
    </dgm:pt>
    <dgm:pt modelId="{C41D853D-B6B8-4984-BA00-098558A00ECB}" type="pres">
      <dgm:prSet presAssocID="{9B51A1E3-0B8E-4E97-B794-76722E0C5344}" presName="negativeSpace" presStyleCnt="0"/>
      <dgm:spPr/>
    </dgm:pt>
    <dgm:pt modelId="{CAD00054-B3F6-4B9A-BC8C-F8C0BECD4493}" type="pres">
      <dgm:prSet presAssocID="{9B51A1E3-0B8E-4E97-B794-76722E0C5344}" presName="childText" presStyleLbl="conFgAcc1" presStyleIdx="3" presStyleCnt="4">
        <dgm:presLayoutVars>
          <dgm:bulletEnabled val="1"/>
        </dgm:presLayoutVars>
      </dgm:prSet>
      <dgm:spPr/>
    </dgm:pt>
  </dgm:ptLst>
  <dgm:cxnLst>
    <dgm:cxn modelId="{34BB7811-1D65-46E0-A148-D896E6E4AFC2}" type="presOf" srcId="{0B9FE841-E8DE-4027-BAC3-44BDED84ECB6}" destId="{197D196B-D4BA-432F-83C2-8A3C52DB6902}" srcOrd="0" destOrd="0" presId="urn:microsoft.com/office/officeart/2005/8/layout/list1"/>
    <dgm:cxn modelId="{A8ECB813-03DA-4DD8-8A15-570EBFCDCF0D}" srcId="{9C9EEFD2-F9AA-47D2-AE76-9FB768463C92}" destId="{27205356-ECF0-44E2-B4CF-6212E85079AB}" srcOrd="0" destOrd="0" parTransId="{D31F87A4-98B0-4A0B-81BB-B1B05D907035}" sibTransId="{74BCFE85-B1A1-41A3-AE44-100823EED7B8}"/>
    <dgm:cxn modelId="{570ED71B-1513-4B4B-AC66-47795DCDB175}" srcId="{9C9EEFD2-F9AA-47D2-AE76-9FB768463C92}" destId="{9B51A1E3-0B8E-4E97-B794-76722E0C5344}" srcOrd="3" destOrd="0" parTransId="{CFA495E6-6453-449C-9253-BDBB42CC796E}" sibTransId="{D9FC3F09-31A7-45B6-8F8C-384C65845C84}"/>
    <dgm:cxn modelId="{1E623D22-24F2-4C8A-8BDC-B75006832CAA}" srcId="{9C9EEFD2-F9AA-47D2-AE76-9FB768463C92}" destId="{1DF881A8-5C43-40EA-A541-8947A54E0F09}" srcOrd="2" destOrd="0" parTransId="{B57E3285-6CF6-46FB-88CD-C54562B8705F}" sibTransId="{26FDB30B-DE72-494B-93A3-6695BEBAD11D}"/>
    <dgm:cxn modelId="{CA7E278F-2F14-4E45-962D-DCA4019ED87A}" type="presOf" srcId="{27205356-ECF0-44E2-B4CF-6212E85079AB}" destId="{CD277A8C-2B4A-4E8C-B198-DA6570D50B09}" srcOrd="0" destOrd="0" presId="urn:microsoft.com/office/officeart/2005/8/layout/list1"/>
    <dgm:cxn modelId="{C2288193-2CD3-41FC-8343-66267A2900D1}" type="presOf" srcId="{1DF881A8-5C43-40EA-A541-8947A54E0F09}" destId="{CB1D3736-426E-42E2-A1C7-5FB7AE8BCB76}" srcOrd="0" destOrd="0" presId="urn:microsoft.com/office/officeart/2005/8/layout/list1"/>
    <dgm:cxn modelId="{541559A9-9D10-4BAA-A8C4-121D2B225BE0}" type="presOf" srcId="{1DF881A8-5C43-40EA-A541-8947A54E0F09}" destId="{491CD49C-296B-4FE7-ADDA-C28EDB05F783}" srcOrd="1" destOrd="0" presId="urn:microsoft.com/office/officeart/2005/8/layout/list1"/>
    <dgm:cxn modelId="{C441E7AC-E2A9-42D5-B4B6-738640D581F2}" srcId="{9C9EEFD2-F9AA-47D2-AE76-9FB768463C92}" destId="{0B9FE841-E8DE-4027-BAC3-44BDED84ECB6}" srcOrd="1" destOrd="0" parTransId="{71577FB9-D332-445C-8AF7-383D72B99AA8}" sibTransId="{CBB3F766-BD75-4BE5-8710-4CFCDE041610}"/>
    <dgm:cxn modelId="{894F12BA-18C3-4FA7-8444-F34DD33EF691}" type="presOf" srcId="{9B51A1E3-0B8E-4E97-B794-76722E0C5344}" destId="{635968F4-E432-4995-88B1-F150C99CB330}" srcOrd="1" destOrd="0" presId="urn:microsoft.com/office/officeart/2005/8/layout/list1"/>
    <dgm:cxn modelId="{B842B9C6-BADC-4564-B071-A1EAE00069E4}" type="presOf" srcId="{27205356-ECF0-44E2-B4CF-6212E85079AB}" destId="{6678FB72-09F9-4691-860A-E75F69BA147E}" srcOrd="1" destOrd="0" presId="urn:microsoft.com/office/officeart/2005/8/layout/list1"/>
    <dgm:cxn modelId="{9FF50CE2-018F-4B3F-8EFE-130A27157A48}" type="presOf" srcId="{9C9EEFD2-F9AA-47D2-AE76-9FB768463C92}" destId="{DB89367D-3C34-406D-B960-F99DE30742FE}" srcOrd="0" destOrd="0" presId="urn:microsoft.com/office/officeart/2005/8/layout/list1"/>
    <dgm:cxn modelId="{1C8A2BE9-0865-4726-B0B4-9D2890897111}" type="presOf" srcId="{0B9FE841-E8DE-4027-BAC3-44BDED84ECB6}" destId="{5FBE4D6D-2257-4759-8372-5D7114B6D360}" srcOrd="1" destOrd="0" presId="urn:microsoft.com/office/officeart/2005/8/layout/list1"/>
    <dgm:cxn modelId="{D7F10EF1-813A-45ED-A82A-924579EFD12E}" type="presOf" srcId="{9B51A1E3-0B8E-4E97-B794-76722E0C5344}" destId="{98D3CFAD-1036-4AD8-A172-B06D3A33703D}" srcOrd="0" destOrd="0" presId="urn:microsoft.com/office/officeart/2005/8/layout/list1"/>
    <dgm:cxn modelId="{96935A9A-B4E8-4085-A686-6D707B6EA63A}" type="presParOf" srcId="{DB89367D-3C34-406D-B960-F99DE30742FE}" destId="{4D27B15C-E5A8-40CD-8A30-B60588ED68DF}" srcOrd="0" destOrd="0" presId="urn:microsoft.com/office/officeart/2005/8/layout/list1"/>
    <dgm:cxn modelId="{BD407033-DB62-4E27-A7E8-1E6E2D94EAF9}" type="presParOf" srcId="{4D27B15C-E5A8-40CD-8A30-B60588ED68DF}" destId="{CD277A8C-2B4A-4E8C-B198-DA6570D50B09}" srcOrd="0" destOrd="0" presId="urn:microsoft.com/office/officeart/2005/8/layout/list1"/>
    <dgm:cxn modelId="{47632951-EE39-4DDA-B8B8-4E855EC80557}" type="presParOf" srcId="{4D27B15C-E5A8-40CD-8A30-B60588ED68DF}" destId="{6678FB72-09F9-4691-860A-E75F69BA147E}" srcOrd="1" destOrd="0" presId="urn:microsoft.com/office/officeart/2005/8/layout/list1"/>
    <dgm:cxn modelId="{AC2CBBDE-5A71-48A0-8CCE-39F6F6085ED7}" type="presParOf" srcId="{DB89367D-3C34-406D-B960-F99DE30742FE}" destId="{B6F13B23-A44A-479A-AF14-CC36309AFDC1}" srcOrd="1" destOrd="0" presId="urn:microsoft.com/office/officeart/2005/8/layout/list1"/>
    <dgm:cxn modelId="{AAEF0291-A1E1-4260-B932-996C6BE1D1A5}" type="presParOf" srcId="{DB89367D-3C34-406D-B960-F99DE30742FE}" destId="{61D3BD07-A67C-4516-A9C0-DBF791E8163E}" srcOrd="2" destOrd="0" presId="urn:microsoft.com/office/officeart/2005/8/layout/list1"/>
    <dgm:cxn modelId="{09FC849B-8FD3-4D5B-96C7-D57489FBF7C0}" type="presParOf" srcId="{DB89367D-3C34-406D-B960-F99DE30742FE}" destId="{6422133D-EED1-49C7-A252-E462583420FB}" srcOrd="3" destOrd="0" presId="urn:microsoft.com/office/officeart/2005/8/layout/list1"/>
    <dgm:cxn modelId="{8DBB868B-C6D0-41FC-B189-3444ABA56408}" type="presParOf" srcId="{DB89367D-3C34-406D-B960-F99DE30742FE}" destId="{B1907F7D-1378-436D-A1CB-A15A13F69377}" srcOrd="4" destOrd="0" presId="urn:microsoft.com/office/officeart/2005/8/layout/list1"/>
    <dgm:cxn modelId="{7664F7F5-18CB-4433-B553-5C5E609DD18B}" type="presParOf" srcId="{B1907F7D-1378-436D-A1CB-A15A13F69377}" destId="{197D196B-D4BA-432F-83C2-8A3C52DB6902}" srcOrd="0" destOrd="0" presId="urn:microsoft.com/office/officeart/2005/8/layout/list1"/>
    <dgm:cxn modelId="{C18A8D67-6AB0-4B10-A0E3-5CE6B1D4517A}" type="presParOf" srcId="{B1907F7D-1378-436D-A1CB-A15A13F69377}" destId="{5FBE4D6D-2257-4759-8372-5D7114B6D360}" srcOrd="1" destOrd="0" presId="urn:microsoft.com/office/officeart/2005/8/layout/list1"/>
    <dgm:cxn modelId="{B49E18C4-9E04-49B7-9F10-34831FF2388B}" type="presParOf" srcId="{DB89367D-3C34-406D-B960-F99DE30742FE}" destId="{78A33902-3097-4DC1-A10F-E9A34DEA5673}" srcOrd="5" destOrd="0" presId="urn:microsoft.com/office/officeart/2005/8/layout/list1"/>
    <dgm:cxn modelId="{5ED83212-B312-4BA8-A6BD-EC96FB4BBD0F}" type="presParOf" srcId="{DB89367D-3C34-406D-B960-F99DE30742FE}" destId="{F6783BD7-F35D-40E8-8015-329D448D9A8A}" srcOrd="6" destOrd="0" presId="urn:microsoft.com/office/officeart/2005/8/layout/list1"/>
    <dgm:cxn modelId="{0B33E7F2-816A-48C5-AF4A-B391BE283CD2}" type="presParOf" srcId="{DB89367D-3C34-406D-B960-F99DE30742FE}" destId="{C947EFD7-DB05-49F3-B03D-2A705F0A0871}" srcOrd="7" destOrd="0" presId="urn:microsoft.com/office/officeart/2005/8/layout/list1"/>
    <dgm:cxn modelId="{6F39261B-E332-421D-BC01-C7A0E52A6BF0}" type="presParOf" srcId="{DB89367D-3C34-406D-B960-F99DE30742FE}" destId="{1FFAF78E-5A7B-49CA-AB6C-9E2279685D90}" srcOrd="8" destOrd="0" presId="urn:microsoft.com/office/officeart/2005/8/layout/list1"/>
    <dgm:cxn modelId="{D0F4FE0D-E98A-42AA-8F4D-C353B5092D6C}" type="presParOf" srcId="{1FFAF78E-5A7B-49CA-AB6C-9E2279685D90}" destId="{CB1D3736-426E-42E2-A1C7-5FB7AE8BCB76}" srcOrd="0" destOrd="0" presId="urn:microsoft.com/office/officeart/2005/8/layout/list1"/>
    <dgm:cxn modelId="{2F21E09B-B1E8-4557-858C-04DCA97BADD3}" type="presParOf" srcId="{1FFAF78E-5A7B-49CA-AB6C-9E2279685D90}" destId="{491CD49C-296B-4FE7-ADDA-C28EDB05F783}" srcOrd="1" destOrd="0" presId="urn:microsoft.com/office/officeart/2005/8/layout/list1"/>
    <dgm:cxn modelId="{0A3FC167-9E00-4DA8-B1E0-5DE59C12B935}" type="presParOf" srcId="{DB89367D-3C34-406D-B960-F99DE30742FE}" destId="{D311E0A7-FA54-466E-A7AB-8C6A7BCE5E4D}" srcOrd="9" destOrd="0" presId="urn:microsoft.com/office/officeart/2005/8/layout/list1"/>
    <dgm:cxn modelId="{93C25BA4-C4AC-4300-B930-BB662F2D7A3B}" type="presParOf" srcId="{DB89367D-3C34-406D-B960-F99DE30742FE}" destId="{D5F6DF34-ED80-4A82-B3AB-BF4CB3E08015}" srcOrd="10" destOrd="0" presId="urn:microsoft.com/office/officeart/2005/8/layout/list1"/>
    <dgm:cxn modelId="{56B91A88-F5F8-42D7-891F-D8C231E44F9C}" type="presParOf" srcId="{DB89367D-3C34-406D-B960-F99DE30742FE}" destId="{656925FA-C50B-4D75-8F7F-D3E787165FBC}" srcOrd="11" destOrd="0" presId="urn:microsoft.com/office/officeart/2005/8/layout/list1"/>
    <dgm:cxn modelId="{8BD645BD-DE16-4AA3-AAB7-CB70D130FC5A}" type="presParOf" srcId="{DB89367D-3C34-406D-B960-F99DE30742FE}" destId="{83C93546-3DA8-46EE-9568-E9D48D9D7AB8}" srcOrd="12" destOrd="0" presId="urn:microsoft.com/office/officeart/2005/8/layout/list1"/>
    <dgm:cxn modelId="{CA836A23-DAAA-4B4A-8EF2-B721B3A30FD3}" type="presParOf" srcId="{83C93546-3DA8-46EE-9568-E9D48D9D7AB8}" destId="{98D3CFAD-1036-4AD8-A172-B06D3A33703D}" srcOrd="0" destOrd="0" presId="urn:microsoft.com/office/officeart/2005/8/layout/list1"/>
    <dgm:cxn modelId="{0C677422-DC6D-4203-94DC-8D49A4CE9E62}" type="presParOf" srcId="{83C93546-3DA8-46EE-9568-E9D48D9D7AB8}" destId="{635968F4-E432-4995-88B1-F150C99CB330}" srcOrd="1" destOrd="0" presId="urn:microsoft.com/office/officeart/2005/8/layout/list1"/>
    <dgm:cxn modelId="{DEF3909F-E1C8-4A34-9EBF-F90551213CD2}" type="presParOf" srcId="{DB89367D-3C34-406D-B960-F99DE30742FE}" destId="{C41D853D-B6B8-4984-BA00-098558A00ECB}" srcOrd="13" destOrd="0" presId="urn:microsoft.com/office/officeart/2005/8/layout/list1"/>
    <dgm:cxn modelId="{72316157-72C3-4A03-BB64-4182FEB633DB}" type="presParOf" srcId="{DB89367D-3C34-406D-B960-F99DE30742FE}" destId="{CAD00054-B3F6-4B9A-BC8C-F8C0BECD4493}"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a:solidFill>
          <a:srgbClr val="FFFF00"/>
        </a:solidFill>
      </dgm:spPr>
      <dgm:t>
        <a:bodyPr/>
        <a:lstStyle/>
        <a:p>
          <a:r>
            <a:rPr lang="en-US" b="1" dirty="0">
              <a:solidFill>
                <a:schemeClr val="tx1"/>
              </a:solidFill>
            </a:rPr>
            <a:t>Georgia Conflict of Interest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a:solidFill>
          <a:srgbClr val="FFC000">
            <a:alpha val="90000"/>
          </a:srgbClr>
        </a:solidFill>
      </dgm:spPr>
      <dgm:t>
        <a:bodyPr/>
        <a:lstStyle/>
        <a:p>
          <a:r>
            <a:rPr lang="en-US" dirty="0"/>
            <a:t>Protection for disclosing violation of conflicts of interest law or other law, which may hurt government reputation</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41161051-0386-4B70-90AD-40041FB0B137}">
      <dgm:prSet phldrT="[Text]"/>
      <dgm:spPr/>
      <dgm:t>
        <a:bodyPr/>
        <a:lstStyle/>
        <a:p>
          <a:r>
            <a:rPr lang="en-US" b="1" dirty="0"/>
            <a:t>Draft Georgia Procurement Law</a:t>
          </a:r>
        </a:p>
      </dgm:t>
    </dgm:pt>
    <dgm:pt modelId="{4A745242-8C12-439D-93D6-4F8ED3E8B6DD}" type="parTrans" cxnId="{E3BE3544-3F21-4DBF-9B39-A1D6C18DA29E}">
      <dgm:prSet/>
      <dgm:spPr/>
      <dgm:t>
        <a:bodyPr/>
        <a:lstStyle/>
        <a:p>
          <a:endParaRPr lang="en-US"/>
        </a:p>
      </dgm:t>
    </dgm:pt>
    <dgm:pt modelId="{6335D2FD-DAE2-4DA5-B2F8-1918B3F4A205}" type="sibTrans" cxnId="{E3BE3544-3F21-4DBF-9B39-A1D6C18DA29E}">
      <dgm:prSet/>
      <dgm:spPr/>
      <dgm:t>
        <a:bodyPr/>
        <a:lstStyle/>
        <a:p>
          <a:endParaRPr lang="en-US"/>
        </a:p>
      </dgm:t>
    </dgm:pt>
    <dgm:pt modelId="{10E4015F-5BB5-42BD-9766-1D74A7EB137F}">
      <dgm:prSet phldrT="[Text]" phldr="1"/>
      <dgm:spPr/>
      <dgm:t>
        <a:bodyPr/>
        <a:lstStyle/>
        <a:p>
          <a:pPr>
            <a:buNone/>
          </a:pPr>
          <a:endParaRPr lang="en-US" dirty="0"/>
        </a:p>
      </dgm:t>
    </dgm:pt>
    <dgm:pt modelId="{F1A2BAFF-82A7-4B64-8DDE-0A2479FB2EF0}" type="parTrans" cxnId="{0E8E1656-347A-4EEA-AEFA-2428897BDB32}">
      <dgm:prSet/>
      <dgm:spPr/>
      <dgm:t>
        <a:bodyPr/>
        <a:lstStyle/>
        <a:p>
          <a:endParaRPr lang="en-US"/>
        </a:p>
      </dgm:t>
    </dgm:pt>
    <dgm:pt modelId="{25CCF4F2-A357-4097-8F37-3078286900E1}" type="sibTrans" cxnId="{0E8E1656-347A-4EEA-AEFA-2428897BDB32}">
      <dgm:prSet/>
      <dgm:spPr/>
      <dgm:t>
        <a:bodyPr/>
        <a:lstStyle/>
        <a:p>
          <a:endParaRPr lang="en-US"/>
        </a:p>
      </dgm:t>
    </dgm:pt>
    <dgm:pt modelId="{6F7C8442-B13B-4D30-8798-EDEDB9B8E102}">
      <dgm:prSet phldrT="[Text]"/>
      <dgm:spPr/>
      <dgm:t>
        <a:bodyPr/>
        <a:lstStyle/>
        <a:p>
          <a:r>
            <a:rPr lang="en-US" b="1"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dgm:spPr/>
      <dgm:t>
        <a:bodyPr/>
        <a:lstStyle/>
        <a:p>
          <a:r>
            <a:rPr lang="en-US" u="none" dirty="0"/>
            <a:t>Encourage </a:t>
          </a:r>
          <a:r>
            <a:rPr lang="en-US" u="sng" dirty="0"/>
            <a:t>procurement fraud</a:t>
          </a:r>
          <a:r>
            <a:rPr lang="en-US" u="none" dirty="0"/>
            <a:t> whistleblower:</a:t>
          </a:r>
          <a:endParaRPr lang="en-US" dirty="0"/>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53AC5D15-2F93-478B-960C-783486D04B2B}">
      <dgm:prSet phldrT="[Text]"/>
      <dgm:spPr>
        <a:solidFill>
          <a:srgbClr val="FFC000">
            <a:alpha val="90000"/>
          </a:srgbClr>
        </a:solidFill>
      </dgm:spPr>
      <dgm:t>
        <a:bodyPr/>
        <a:lstStyle/>
        <a:p>
          <a:endParaRPr lang="en-US" dirty="0"/>
        </a:p>
      </dgm:t>
    </dgm:pt>
    <dgm:pt modelId="{8A168C79-F2CB-48F0-9EE4-583BD97C59F9}" type="parTrans" cxnId="{03D5B7EB-054F-474F-8E58-61D4567E75C6}">
      <dgm:prSet/>
      <dgm:spPr/>
      <dgm:t>
        <a:bodyPr/>
        <a:lstStyle/>
        <a:p>
          <a:endParaRPr lang="en-US"/>
        </a:p>
      </dgm:t>
    </dgm:pt>
    <dgm:pt modelId="{F0BE0CF1-23E8-4E68-96B4-FD17BCCC0164}" type="sibTrans" cxnId="{03D5B7EB-054F-474F-8E58-61D4567E75C6}">
      <dgm:prSet/>
      <dgm:spPr/>
      <dgm:t>
        <a:bodyPr/>
        <a:lstStyle/>
        <a:p>
          <a:endParaRPr lang="en-US"/>
        </a:p>
      </dgm:t>
    </dgm:pt>
    <dgm:pt modelId="{2D18DBED-CD32-447D-B18F-DE1AC802394A}">
      <dgm:prSet phldrT="[Text]"/>
      <dgm:spPr/>
      <dgm:t>
        <a:bodyPr/>
        <a:lstStyle/>
        <a:p>
          <a:r>
            <a:rPr lang="en-US" dirty="0"/>
            <a:t>Allow to drive process</a:t>
          </a:r>
        </a:p>
      </dgm:t>
    </dgm:pt>
    <dgm:pt modelId="{3D683425-DD91-4E23-B332-82E9282AC36B}" type="parTrans" cxnId="{F8C0506B-4F28-4885-AA5E-D4C885F37DAF}">
      <dgm:prSet/>
      <dgm:spPr/>
      <dgm:t>
        <a:bodyPr/>
        <a:lstStyle/>
        <a:p>
          <a:endParaRPr lang="en-US"/>
        </a:p>
      </dgm:t>
    </dgm:pt>
    <dgm:pt modelId="{2B5DA1BD-A465-4D68-9DA7-8ABFDA72ED4F}" type="sibTrans" cxnId="{F8C0506B-4F28-4885-AA5E-D4C885F37DAF}">
      <dgm:prSet/>
      <dgm:spPr/>
      <dgm:t>
        <a:bodyPr/>
        <a:lstStyle/>
        <a:p>
          <a:endParaRPr lang="en-US"/>
        </a:p>
      </dgm:t>
    </dgm:pt>
    <dgm:pt modelId="{111F0F9B-B422-4201-9C66-B5299A1A37E1}">
      <dgm:prSet phldrT="[Text]"/>
      <dgm:spPr/>
      <dgm:t>
        <a:bodyPr/>
        <a:lstStyle/>
        <a:p>
          <a:r>
            <a:rPr lang="en-US" dirty="0"/>
            <a:t>Lower proof standard regarding fraudulent intent</a:t>
          </a:r>
        </a:p>
      </dgm:t>
    </dgm:pt>
    <dgm:pt modelId="{FDF9E4D0-7308-4C60-BE1A-268DE90ADE4A}" type="parTrans" cxnId="{E16D4AEA-1E60-49D6-9BED-BEA59394327B}">
      <dgm:prSet/>
      <dgm:spPr/>
      <dgm:t>
        <a:bodyPr/>
        <a:lstStyle/>
        <a:p>
          <a:endParaRPr lang="en-US"/>
        </a:p>
      </dgm:t>
    </dgm:pt>
    <dgm:pt modelId="{E5BB7256-282C-4BFF-90B2-C8A8B3DC6137}" type="sibTrans" cxnId="{E16D4AEA-1E60-49D6-9BED-BEA59394327B}">
      <dgm:prSet/>
      <dgm:spPr/>
      <dgm:t>
        <a:bodyPr/>
        <a:lstStyle/>
        <a:p>
          <a:endParaRPr lang="en-US"/>
        </a:p>
      </dgm:t>
    </dgm:pt>
    <dgm:pt modelId="{BB79B9B5-2835-4306-ACAA-FB82C1D24FC2}">
      <dgm:prSet phldrT="[Text]"/>
      <dgm:spPr/>
      <dgm:t>
        <a:bodyPr/>
        <a:lstStyle/>
        <a:p>
          <a:r>
            <a:rPr lang="en-US" dirty="0"/>
            <a:t>Bounty or special protection</a:t>
          </a:r>
        </a:p>
      </dgm:t>
    </dgm:pt>
    <dgm:pt modelId="{8F2BA76C-CA64-4B4E-9EEF-FD59F1618A49}" type="parTrans" cxnId="{769D1362-6B43-4CDA-8A66-5102E1206363}">
      <dgm:prSet/>
      <dgm:spPr/>
      <dgm:t>
        <a:bodyPr/>
        <a:lstStyle/>
        <a:p>
          <a:endParaRPr lang="en-US"/>
        </a:p>
      </dgm:t>
    </dgm:pt>
    <dgm:pt modelId="{B25067C1-F136-44C2-90EC-1E252870898D}" type="sibTrans" cxnId="{769D1362-6B43-4CDA-8A66-5102E1206363}">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3">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3">
        <dgm:presLayoutVars>
          <dgm:bulletEnabled val="1"/>
        </dgm:presLayoutVars>
      </dgm:prSet>
      <dgm:spPr/>
    </dgm:pt>
    <dgm:pt modelId="{18D6530C-184C-40FD-9E8C-7E647FB7D61E}" type="pres">
      <dgm:prSet presAssocID="{8640A470-1C2B-43F7-AE76-86965C5D7E8D}" presName="space" presStyleCnt="0"/>
      <dgm:spPr/>
    </dgm:pt>
    <dgm:pt modelId="{A3F9B3E3-683E-4AC0-B8A0-DFC21C9E00B1}" type="pres">
      <dgm:prSet presAssocID="{41161051-0386-4B70-90AD-40041FB0B137}" presName="composite" presStyleCnt="0"/>
      <dgm:spPr/>
    </dgm:pt>
    <dgm:pt modelId="{8E6D5C47-3AC7-4A32-A37A-EB161483C401}" type="pres">
      <dgm:prSet presAssocID="{41161051-0386-4B70-90AD-40041FB0B137}" presName="parTx" presStyleLbl="alignNode1" presStyleIdx="1" presStyleCnt="3">
        <dgm:presLayoutVars>
          <dgm:chMax val="0"/>
          <dgm:chPref val="0"/>
          <dgm:bulletEnabled val="1"/>
        </dgm:presLayoutVars>
      </dgm:prSet>
      <dgm:spPr/>
    </dgm:pt>
    <dgm:pt modelId="{AE4847B9-13D2-4C12-A199-E437ADF0E1F4}" type="pres">
      <dgm:prSet presAssocID="{41161051-0386-4B70-90AD-40041FB0B137}" presName="desTx" presStyleLbl="alignAccFollowNode1" presStyleIdx="1" presStyleCnt="3" custLinFactNeighborY="-672">
        <dgm:presLayoutVars>
          <dgm:bulletEnabled val="1"/>
        </dgm:presLayoutVars>
      </dgm:prSet>
      <dgm:spPr/>
    </dgm:pt>
    <dgm:pt modelId="{DB09372A-2A6F-41F7-9F27-80DCB253287F}" type="pres">
      <dgm:prSet presAssocID="{6335D2FD-DAE2-4DA5-B2F8-1918B3F4A205}"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2" presStyleCnt="3">
        <dgm:presLayoutVars>
          <dgm:chMax val="0"/>
          <dgm:chPref val="0"/>
          <dgm:bulletEnabled val="1"/>
        </dgm:presLayoutVars>
      </dgm:prSet>
      <dgm:spPr/>
    </dgm:pt>
    <dgm:pt modelId="{B2C70EFF-4051-4816-AE4A-923F1EEA1C36}" type="pres">
      <dgm:prSet presAssocID="{6F7C8442-B13B-4D30-8798-EDEDB9B8E102}" presName="desTx" presStyleLbl="alignAccFollowNode1" presStyleIdx="2" presStyleCnt="3">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02E7072A-C983-421E-8D26-301A24A31229}" type="presOf" srcId="{39831F26-8588-43A9-9F7B-A828F1486D75}" destId="{5CAF11CE-342C-467A-A028-F3068E4AC0A9}" srcOrd="0" destOrd="0" presId="urn:microsoft.com/office/officeart/2005/8/layout/hList1"/>
    <dgm:cxn modelId="{769D1362-6B43-4CDA-8A66-5102E1206363}" srcId="{B8331066-A248-47DB-9D9B-41B1C93FA6AC}" destId="{BB79B9B5-2835-4306-ACAA-FB82C1D24FC2}" srcOrd="1" destOrd="0" parTransId="{8F2BA76C-CA64-4B4E-9EEF-FD59F1618A49}" sibTransId="{B25067C1-F136-44C2-90EC-1E252870898D}"/>
    <dgm:cxn modelId="{8FEDD642-5859-4619-B020-1A41F6277863}" srcId="{39831F26-8588-43A9-9F7B-A828F1486D75}" destId="{6F7C8442-B13B-4D30-8798-EDEDB9B8E102}" srcOrd="2" destOrd="0" parTransId="{FF6A6C7B-A3FB-4A25-A6C0-18DD7CA47893}" sibTransId="{572E4B8C-DC93-4951-A53A-CD2AFE7ACD53}"/>
    <dgm:cxn modelId="{E3BE3544-3F21-4DBF-9B39-A1D6C18DA29E}" srcId="{39831F26-8588-43A9-9F7B-A828F1486D75}" destId="{41161051-0386-4B70-90AD-40041FB0B137}" srcOrd="1" destOrd="0" parTransId="{4A745242-8C12-439D-93D6-4F8ED3E8B6DD}" sibTransId="{6335D2FD-DAE2-4DA5-B2F8-1918B3F4A205}"/>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F8C0506B-4F28-4885-AA5E-D4C885F37DAF}" srcId="{B8331066-A248-47DB-9D9B-41B1C93FA6AC}" destId="{2D18DBED-CD32-447D-B18F-DE1AC802394A}" srcOrd="0" destOrd="0" parTransId="{3D683425-DD91-4E23-B332-82E9282AC36B}" sibTransId="{2B5DA1BD-A465-4D68-9DA7-8ABFDA72ED4F}"/>
    <dgm:cxn modelId="{4ECC8E52-43C8-4B08-B1A6-5C3FD6A28F49}" type="presOf" srcId="{2D18DBED-CD32-447D-B18F-DE1AC802394A}" destId="{B2C70EFF-4051-4816-AE4A-923F1EEA1C36}" srcOrd="0" destOrd="1" presId="urn:microsoft.com/office/officeart/2005/8/layout/hList1"/>
    <dgm:cxn modelId="{0E8E1656-347A-4EEA-AEFA-2428897BDB32}" srcId="{41161051-0386-4B70-90AD-40041FB0B137}" destId="{10E4015F-5BB5-42BD-9766-1D74A7EB137F}" srcOrd="0" destOrd="0" parTransId="{F1A2BAFF-82A7-4B64-8DDE-0A2479FB2EF0}" sibTransId="{25CCF4F2-A357-4097-8F37-3078286900E1}"/>
    <dgm:cxn modelId="{6F9E537A-134D-4620-A234-2D54B84B4FAB}" type="presOf" srcId="{41161051-0386-4B70-90AD-40041FB0B137}" destId="{8E6D5C47-3AC7-4A32-A37A-EB161483C401}" srcOrd="0" destOrd="0" presId="urn:microsoft.com/office/officeart/2005/8/layout/hList1"/>
    <dgm:cxn modelId="{58FAC980-B1B9-481C-A470-246895F4627C}" type="presOf" srcId="{53AC5D15-2F93-478B-960C-783486D04B2B}" destId="{BD1D2419-3FBE-4CDD-B9F0-2791A66260DC}" srcOrd="0" destOrd="1" presId="urn:microsoft.com/office/officeart/2005/8/layout/hList1"/>
    <dgm:cxn modelId="{AA90FE83-00E2-4B7F-B16D-347B2C5522D5}" type="presOf" srcId="{111F0F9B-B422-4201-9C66-B5299A1A37E1}" destId="{B2C70EFF-4051-4816-AE4A-923F1EEA1C36}" srcOrd="0" destOrd="3" presId="urn:microsoft.com/office/officeart/2005/8/layout/hList1"/>
    <dgm:cxn modelId="{97EA7695-F910-4260-876D-883BE34736B9}" type="presOf" srcId="{6F7C8442-B13B-4D30-8798-EDEDB9B8E102}" destId="{C3750E5D-B8B6-4E37-85C4-FF8FA966C67E}" srcOrd="0" destOrd="0" presId="urn:microsoft.com/office/officeart/2005/8/layout/hList1"/>
    <dgm:cxn modelId="{B35FF1AB-6861-4044-873A-7E2873BD5808}" type="presOf" srcId="{10E4015F-5BB5-42BD-9766-1D74A7EB137F}" destId="{AE4847B9-13D2-4C12-A199-E437ADF0E1F4}" srcOrd="0" destOrd="0" presId="urn:microsoft.com/office/officeart/2005/8/layout/hList1"/>
    <dgm:cxn modelId="{DF3136C4-98BF-48FE-A74B-E706E3C6D469}" type="presOf" srcId="{BB79B9B5-2835-4306-ACAA-FB82C1D24FC2}" destId="{B2C70EFF-4051-4816-AE4A-923F1EEA1C36}" srcOrd="0" destOrd="2" presId="urn:microsoft.com/office/officeart/2005/8/layout/hList1"/>
    <dgm:cxn modelId="{E16D4AEA-1E60-49D6-9BED-BEA59394327B}" srcId="{B8331066-A248-47DB-9D9B-41B1C93FA6AC}" destId="{111F0F9B-B422-4201-9C66-B5299A1A37E1}" srcOrd="2" destOrd="0" parTransId="{FDF9E4D0-7308-4C60-BE1A-268DE90ADE4A}" sibTransId="{E5BB7256-282C-4BFF-90B2-C8A8B3DC6137}"/>
    <dgm:cxn modelId="{03D5B7EB-054F-474F-8E58-61D4567E75C6}" srcId="{9AF3877F-9D3C-40DB-A272-B12CAE89D5A2}" destId="{53AC5D15-2F93-478B-960C-783486D04B2B}" srcOrd="1" destOrd="0" parTransId="{8A168C79-F2CB-48F0-9EE4-583BD97C59F9}" sibTransId="{F0BE0CF1-23E8-4E68-96B4-FD17BCCC0164}"/>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7CC3BB43-271B-4B64-889E-D9B9E3F6CB2E}" type="presParOf" srcId="{5CAF11CE-342C-467A-A028-F3068E4AC0A9}" destId="{A3F9B3E3-683E-4AC0-B8A0-DFC21C9E00B1}" srcOrd="2" destOrd="0" presId="urn:microsoft.com/office/officeart/2005/8/layout/hList1"/>
    <dgm:cxn modelId="{E6036043-3B42-4B9C-B00F-1400D6860A0E}" type="presParOf" srcId="{A3F9B3E3-683E-4AC0-B8A0-DFC21C9E00B1}" destId="{8E6D5C47-3AC7-4A32-A37A-EB161483C401}" srcOrd="0" destOrd="0" presId="urn:microsoft.com/office/officeart/2005/8/layout/hList1"/>
    <dgm:cxn modelId="{D8348EAF-E2DD-4EE3-BD38-97AAD9C9DF40}" type="presParOf" srcId="{A3F9B3E3-683E-4AC0-B8A0-DFC21C9E00B1}" destId="{AE4847B9-13D2-4C12-A199-E437ADF0E1F4}" srcOrd="1" destOrd="0" presId="urn:microsoft.com/office/officeart/2005/8/layout/hList1"/>
    <dgm:cxn modelId="{401D928D-6209-4EA7-9D89-979A5AC2B26B}" type="presParOf" srcId="{5CAF11CE-342C-467A-A028-F3068E4AC0A9}" destId="{DB09372A-2A6F-41F7-9F27-80DCB253287F}" srcOrd="3" destOrd="0" presId="urn:microsoft.com/office/officeart/2005/8/layout/hList1"/>
    <dgm:cxn modelId="{FF24F695-0E4F-46E9-B986-F6C308538F27}" type="presParOf" srcId="{5CAF11CE-342C-467A-A028-F3068E4AC0A9}" destId="{7F117BCF-9754-40F0-87AB-F69BDFC53F6A}" srcOrd="4"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F689A6-A5C4-47B5-8297-80776B6B95BD}" type="doc">
      <dgm:prSet loTypeId="urn:microsoft.com/office/officeart/2005/8/layout/hProcess9" loCatId="process" qsTypeId="urn:microsoft.com/office/officeart/2005/8/quickstyle/simple1" qsCatId="simple" csTypeId="urn:microsoft.com/office/officeart/2005/8/colors/accent1_2" csCatId="accent1" phldr="1"/>
      <dgm:spPr/>
    </dgm:pt>
    <dgm:pt modelId="{5C67ED5D-0811-4EF4-90FA-D857E61F1B27}">
      <dgm:prSet phldrT="[Text]"/>
      <dgm:spPr>
        <a:solidFill>
          <a:srgbClr val="00B050"/>
        </a:solidFill>
      </dgm:spPr>
      <dgm:t>
        <a:bodyPr/>
        <a:lstStyle/>
        <a:p>
          <a:r>
            <a:rPr lang="en-US" dirty="0"/>
            <a:t>EU Directive Calls for “Self-Cleaning” of Corrupt Contractors</a:t>
          </a:r>
        </a:p>
      </dgm:t>
    </dgm:pt>
    <dgm:pt modelId="{7C60D8D9-B7D4-4DE0-A2AC-84CB8233BCE7}" type="parTrans" cxnId="{BE9D8F67-4663-470E-9C29-B76C68FE22DF}">
      <dgm:prSet/>
      <dgm:spPr/>
      <dgm:t>
        <a:bodyPr/>
        <a:lstStyle/>
        <a:p>
          <a:endParaRPr lang="en-US"/>
        </a:p>
      </dgm:t>
    </dgm:pt>
    <dgm:pt modelId="{B49BF4A1-D04E-4242-BBD9-9E3624E98247}" type="sibTrans" cxnId="{BE9D8F67-4663-470E-9C29-B76C68FE22DF}">
      <dgm:prSet/>
      <dgm:spPr/>
      <dgm:t>
        <a:bodyPr/>
        <a:lstStyle/>
        <a:p>
          <a:endParaRPr lang="en-US"/>
        </a:p>
      </dgm:t>
    </dgm:pt>
    <dgm:pt modelId="{33870A16-1922-40BA-A834-77C571F1AD91}">
      <dgm:prSet phldrT="[Text]"/>
      <dgm:spPr>
        <a:solidFill>
          <a:schemeClr val="accent6">
            <a:lumMod val="60000"/>
            <a:lumOff val="40000"/>
          </a:schemeClr>
        </a:solidFill>
      </dgm:spPr>
      <dgm:t>
        <a:bodyPr/>
        <a:lstStyle/>
        <a:p>
          <a:r>
            <a:rPr lang="en-US" dirty="0"/>
            <a:t>Georgia’s Anti-Corruption Strategy 2017-2018 Calls for Corporate Integrity Measures, Especially in State-Owned Enterprises</a:t>
          </a:r>
        </a:p>
      </dgm:t>
    </dgm:pt>
    <dgm:pt modelId="{CD85B8CA-DB14-4B73-B267-9C945AAEE73E}" type="parTrans" cxnId="{180E2556-E9D0-4A06-9DA6-D857A8ABA00A}">
      <dgm:prSet/>
      <dgm:spPr/>
      <dgm:t>
        <a:bodyPr/>
        <a:lstStyle/>
        <a:p>
          <a:endParaRPr lang="en-US"/>
        </a:p>
      </dgm:t>
    </dgm:pt>
    <dgm:pt modelId="{2240778B-AE06-4DC2-BCCE-935420366048}" type="sibTrans" cxnId="{180E2556-E9D0-4A06-9DA6-D857A8ABA00A}">
      <dgm:prSet/>
      <dgm:spPr/>
      <dgm:t>
        <a:bodyPr/>
        <a:lstStyle/>
        <a:p>
          <a:endParaRPr lang="en-US"/>
        </a:p>
      </dgm:t>
    </dgm:pt>
    <dgm:pt modelId="{C216AC62-153A-475A-A212-1473907AC664}">
      <dgm:prSet phldrT="[Text]"/>
      <dgm:spPr>
        <a:solidFill>
          <a:srgbClr val="0069B0"/>
        </a:solidFill>
      </dgm:spPr>
      <dgm:t>
        <a:bodyPr/>
        <a:lstStyle/>
        <a:p>
          <a:r>
            <a:rPr lang="en-US" dirty="0"/>
            <a:t>Corporate Integrity Standards Are Parallel Across the Globe</a:t>
          </a:r>
        </a:p>
      </dgm:t>
    </dgm:pt>
    <dgm:pt modelId="{6F4CAFC1-33F6-4D60-8534-07D9CC44AC8E}" type="parTrans" cxnId="{72BC7836-AD8A-4729-8EBA-F173577D19C3}">
      <dgm:prSet/>
      <dgm:spPr/>
      <dgm:t>
        <a:bodyPr/>
        <a:lstStyle/>
        <a:p>
          <a:endParaRPr lang="en-US"/>
        </a:p>
      </dgm:t>
    </dgm:pt>
    <dgm:pt modelId="{E95C3143-8601-477B-A07B-D351B0917A65}" type="sibTrans" cxnId="{72BC7836-AD8A-4729-8EBA-F173577D19C3}">
      <dgm:prSet/>
      <dgm:spPr/>
      <dgm:t>
        <a:bodyPr/>
        <a:lstStyle/>
        <a:p>
          <a:endParaRPr lang="en-US"/>
        </a:p>
      </dgm:t>
    </dgm:pt>
    <dgm:pt modelId="{1D15DFFB-F414-4281-9C2B-EE2A2586D489}" type="pres">
      <dgm:prSet presAssocID="{ADF689A6-A5C4-47B5-8297-80776B6B95BD}" presName="CompostProcess" presStyleCnt="0">
        <dgm:presLayoutVars>
          <dgm:dir/>
          <dgm:resizeHandles val="exact"/>
        </dgm:presLayoutVars>
      </dgm:prSet>
      <dgm:spPr/>
    </dgm:pt>
    <dgm:pt modelId="{57EACAF1-3E04-41B1-BE43-89FFBF0D4D71}" type="pres">
      <dgm:prSet presAssocID="{ADF689A6-A5C4-47B5-8297-80776B6B95BD}" presName="arrow" presStyleLbl="bgShp" presStyleIdx="0" presStyleCnt="1"/>
      <dgm:spPr/>
    </dgm:pt>
    <dgm:pt modelId="{D6C913F7-C377-4ED5-B0DC-322769A5BD71}" type="pres">
      <dgm:prSet presAssocID="{ADF689A6-A5C4-47B5-8297-80776B6B95BD}" presName="linearProcess" presStyleCnt="0"/>
      <dgm:spPr/>
    </dgm:pt>
    <dgm:pt modelId="{3C75EE13-70F5-4616-933F-210CBEB21523}" type="pres">
      <dgm:prSet presAssocID="{5C67ED5D-0811-4EF4-90FA-D857E61F1B27}" presName="textNode" presStyleLbl="node1" presStyleIdx="0" presStyleCnt="3">
        <dgm:presLayoutVars>
          <dgm:bulletEnabled val="1"/>
        </dgm:presLayoutVars>
      </dgm:prSet>
      <dgm:spPr/>
    </dgm:pt>
    <dgm:pt modelId="{3AEA2301-578C-4AA1-B8D9-44D77B20F24A}" type="pres">
      <dgm:prSet presAssocID="{B49BF4A1-D04E-4242-BBD9-9E3624E98247}" presName="sibTrans" presStyleCnt="0"/>
      <dgm:spPr/>
    </dgm:pt>
    <dgm:pt modelId="{2782AEFC-52CC-4708-B17C-C345D740F903}" type="pres">
      <dgm:prSet presAssocID="{33870A16-1922-40BA-A834-77C571F1AD91}" presName="textNode" presStyleLbl="node1" presStyleIdx="1" presStyleCnt="3">
        <dgm:presLayoutVars>
          <dgm:bulletEnabled val="1"/>
        </dgm:presLayoutVars>
      </dgm:prSet>
      <dgm:spPr/>
    </dgm:pt>
    <dgm:pt modelId="{7F09A3F6-3D9F-4FFB-88AE-89D81C9CFF22}" type="pres">
      <dgm:prSet presAssocID="{2240778B-AE06-4DC2-BCCE-935420366048}" presName="sibTrans" presStyleCnt="0"/>
      <dgm:spPr/>
    </dgm:pt>
    <dgm:pt modelId="{0FAC7A2E-49B3-4CF7-9B72-B83A9084E78D}" type="pres">
      <dgm:prSet presAssocID="{C216AC62-153A-475A-A212-1473907AC664}" presName="textNode" presStyleLbl="node1" presStyleIdx="2" presStyleCnt="3">
        <dgm:presLayoutVars>
          <dgm:bulletEnabled val="1"/>
        </dgm:presLayoutVars>
      </dgm:prSet>
      <dgm:spPr/>
    </dgm:pt>
  </dgm:ptLst>
  <dgm:cxnLst>
    <dgm:cxn modelId="{DA759923-D21A-4538-95D6-21B60E8ADE3E}" type="presOf" srcId="{ADF689A6-A5C4-47B5-8297-80776B6B95BD}" destId="{1D15DFFB-F414-4281-9C2B-EE2A2586D489}" srcOrd="0" destOrd="0" presId="urn:microsoft.com/office/officeart/2005/8/layout/hProcess9"/>
    <dgm:cxn modelId="{72BC7836-AD8A-4729-8EBA-F173577D19C3}" srcId="{ADF689A6-A5C4-47B5-8297-80776B6B95BD}" destId="{C216AC62-153A-475A-A212-1473907AC664}" srcOrd="2" destOrd="0" parTransId="{6F4CAFC1-33F6-4D60-8534-07D9CC44AC8E}" sibTransId="{E95C3143-8601-477B-A07B-D351B0917A65}"/>
    <dgm:cxn modelId="{BE9D8F67-4663-470E-9C29-B76C68FE22DF}" srcId="{ADF689A6-A5C4-47B5-8297-80776B6B95BD}" destId="{5C67ED5D-0811-4EF4-90FA-D857E61F1B27}" srcOrd="0" destOrd="0" parTransId="{7C60D8D9-B7D4-4DE0-A2AC-84CB8233BCE7}" sibTransId="{B49BF4A1-D04E-4242-BBD9-9E3624E98247}"/>
    <dgm:cxn modelId="{180E2556-E9D0-4A06-9DA6-D857A8ABA00A}" srcId="{ADF689A6-A5C4-47B5-8297-80776B6B95BD}" destId="{33870A16-1922-40BA-A834-77C571F1AD91}" srcOrd="1" destOrd="0" parTransId="{CD85B8CA-DB14-4B73-B267-9C945AAEE73E}" sibTransId="{2240778B-AE06-4DC2-BCCE-935420366048}"/>
    <dgm:cxn modelId="{C1C599AA-5519-4139-9125-047E1ED5E84A}" type="presOf" srcId="{5C67ED5D-0811-4EF4-90FA-D857E61F1B27}" destId="{3C75EE13-70F5-4616-933F-210CBEB21523}" srcOrd="0" destOrd="0" presId="urn:microsoft.com/office/officeart/2005/8/layout/hProcess9"/>
    <dgm:cxn modelId="{6756BFDC-51F2-4E14-B14C-47F2579898D6}" type="presOf" srcId="{33870A16-1922-40BA-A834-77C571F1AD91}" destId="{2782AEFC-52CC-4708-B17C-C345D740F903}" srcOrd="0" destOrd="0" presId="urn:microsoft.com/office/officeart/2005/8/layout/hProcess9"/>
    <dgm:cxn modelId="{507CABF4-72BB-4427-8F68-6E8DEBE53C34}" type="presOf" srcId="{C216AC62-153A-475A-A212-1473907AC664}" destId="{0FAC7A2E-49B3-4CF7-9B72-B83A9084E78D}" srcOrd="0" destOrd="0" presId="urn:microsoft.com/office/officeart/2005/8/layout/hProcess9"/>
    <dgm:cxn modelId="{58F46D2C-D072-481B-862D-87FE2A1AD884}" type="presParOf" srcId="{1D15DFFB-F414-4281-9C2B-EE2A2586D489}" destId="{57EACAF1-3E04-41B1-BE43-89FFBF0D4D71}" srcOrd="0" destOrd="0" presId="urn:microsoft.com/office/officeart/2005/8/layout/hProcess9"/>
    <dgm:cxn modelId="{EFD8DDEA-DF74-4ECC-8BF4-1612BFC0D057}" type="presParOf" srcId="{1D15DFFB-F414-4281-9C2B-EE2A2586D489}" destId="{D6C913F7-C377-4ED5-B0DC-322769A5BD71}" srcOrd="1" destOrd="0" presId="urn:microsoft.com/office/officeart/2005/8/layout/hProcess9"/>
    <dgm:cxn modelId="{617ED3AD-2699-4F88-8028-3FEB4B5E4D45}" type="presParOf" srcId="{D6C913F7-C377-4ED5-B0DC-322769A5BD71}" destId="{3C75EE13-70F5-4616-933F-210CBEB21523}" srcOrd="0" destOrd="0" presId="urn:microsoft.com/office/officeart/2005/8/layout/hProcess9"/>
    <dgm:cxn modelId="{152CF6FF-6CDA-4A66-A0ED-CEB379D64DD9}" type="presParOf" srcId="{D6C913F7-C377-4ED5-B0DC-322769A5BD71}" destId="{3AEA2301-578C-4AA1-B8D9-44D77B20F24A}" srcOrd="1" destOrd="0" presId="urn:microsoft.com/office/officeart/2005/8/layout/hProcess9"/>
    <dgm:cxn modelId="{01A66596-F5F0-4AE9-89AD-A58338C94B5B}" type="presParOf" srcId="{D6C913F7-C377-4ED5-B0DC-322769A5BD71}" destId="{2782AEFC-52CC-4708-B17C-C345D740F903}" srcOrd="2" destOrd="0" presId="urn:microsoft.com/office/officeart/2005/8/layout/hProcess9"/>
    <dgm:cxn modelId="{AE0DFD85-54F6-4E13-9E67-402B23A7F81D}" type="presParOf" srcId="{D6C913F7-C377-4ED5-B0DC-322769A5BD71}" destId="{7F09A3F6-3D9F-4FFB-88AE-89D81C9CFF22}" srcOrd="3" destOrd="0" presId="urn:microsoft.com/office/officeart/2005/8/layout/hProcess9"/>
    <dgm:cxn modelId="{E65EE318-4A40-4B96-805D-3AF6103F9383}" type="presParOf" srcId="{D6C913F7-C377-4ED5-B0DC-322769A5BD71}" destId="{0FAC7A2E-49B3-4CF7-9B72-B83A9084E78D}"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Procurement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custT="1"/>
      <dgm:spPr/>
      <dgm:t>
        <a:bodyPr/>
        <a:lstStyle/>
        <a:p>
          <a:r>
            <a:rPr lang="en-US" sz="2000" u="sng" dirty="0"/>
            <a:t>Personal conflict of interest</a:t>
          </a:r>
          <a:r>
            <a:rPr lang="en-US" sz="2000" dirty="0"/>
            <a:t> if procuring or oversight official is </a:t>
          </a:r>
          <a:r>
            <a:rPr lang="en-US" sz="2000" b="1" dirty="0"/>
            <a:t>relative </a:t>
          </a:r>
          <a:r>
            <a:rPr lang="en-US" sz="2000" dirty="0"/>
            <a:t>or under </a:t>
          </a:r>
          <a:r>
            <a:rPr lang="en-US" sz="2000" b="1" dirty="0"/>
            <a:t>common control </a:t>
          </a:r>
          <a:r>
            <a:rPr lang="en-US" sz="2000" dirty="0"/>
            <a:t>(Art. 8)</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41161051-0386-4B70-90AD-40041FB0B137}">
      <dgm:prSet phldrT="[Text]"/>
      <dgm:spPr/>
      <dgm:t>
        <a:bodyPr/>
        <a:lstStyle/>
        <a:p>
          <a:r>
            <a:rPr lang="en-US" dirty="0"/>
            <a:t>Draft Georgia Procurement Law</a:t>
          </a:r>
        </a:p>
      </dgm:t>
    </dgm:pt>
    <dgm:pt modelId="{4A745242-8C12-439D-93D6-4F8ED3E8B6DD}" type="parTrans" cxnId="{E3BE3544-3F21-4DBF-9B39-A1D6C18DA29E}">
      <dgm:prSet/>
      <dgm:spPr/>
      <dgm:t>
        <a:bodyPr/>
        <a:lstStyle/>
        <a:p>
          <a:endParaRPr lang="en-US"/>
        </a:p>
      </dgm:t>
    </dgm:pt>
    <dgm:pt modelId="{6335D2FD-DAE2-4DA5-B2F8-1918B3F4A205}" type="sibTrans" cxnId="{E3BE3544-3F21-4DBF-9B39-A1D6C18DA29E}">
      <dgm:prSet/>
      <dgm:spPr/>
      <dgm:t>
        <a:bodyPr/>
        <a:lstStyle/>
        <a:p>
          <a:endParaRPr lang="en-US"/>
        </a:p>
      </dgm:t>
    </dgm:pt>
    <dgm:pt modelId="{10E4015F-5BB5-42BD-9766-1D74A7EB137F}">
      <dgm:prSet phldrT="[Text]" custT="1"/>
      <dgm:spPr/>
      <dgm:t>
        <a:bodyPr/>
        <a:lstStyle/>
        <a:p>
          <a:r>
            <a:rPr lang="en-US" sz="1800" dirty="0"/>
            <a:t>Addresses personal conflicts of interest</a:t>
          </a:r>
        </a:p>
      </dgm:t>
    </dgm:pt>
    <dgm:pt modelId="{F1A2BAFF-82A7-4B64-8DDE-0A2479FB2EF0}" type="parTrans" cxnId="{0E8E1656-347A-4EEA-AEFA-2428897BDB32}">
      <dgm:prSet/>
      <dgm:spPr/>
      <dgm:t>
        <a:bodyPr/>
        <a:lstStyle/>
        <a:p>
          <a:endParaRPr lang="en-US"/>
        </a:p>
      </dgm:t>
    </dgm:pt>
    <dgm:pt modelId="{25CCF4F2-A357-4097-8F37-3078286900E1}" type="sibTrans" cxnId="{0E8E1656-347A-4EEA-AEFA-2428897BDB32}">
      <dgm:prSet/>
      <dgm:spPr/>
      <dgm:t>
        <a:bodyPr/>
        <a:lstStyle/>
        <a:p>
          <a:endParaRPr lang="en-US"/>
        </a:p>
      </dgm:t>
    </dgm:pt>
    <dgm:pt modelId="{559EF9BE-13F2-46C1-8B53-2024FFE1D0AD}">
      <dgm:prSet phldrT="[Text]" custT="1"/>
      <dgm:spPr/>
      <dgm:t>
        <a:bodyPr/>
        <a:lstStyle/>
        <a:p>
          <a:r>
            <a:rPr lang="en-US" sz="1800" dirty="0"/>
            <a:t>Publishing committee minutes (notable best practice)</a:t>
          </a:r>
        </a:p>
      </dgm:t>
    </dgm:pt>
    <dgm:pt modelId="{2B722E7F-80F1-4FFB-99F8-E96D3C944EF3}" type="parTrans" cxnId="{0B00D134-03E9-44C9-B666-C2D2054A78BC}">
      <dgm:prSet/>
      <dgm:spPr/>
      <dgm:t>
        <a:bodyPr/>
        <a:lstStyle/>
        <a:p>
          <a:endParaRPr lang="en-US"/>
        </a:p>
      </dgm:t>
    </dgm:pt>
    <dgm:pt modelId="{F3DD1C32-5712-450C-8CB4-6E0546859019}" type="sibTrans" cxnId="{0B00D134-03E9-44C9-B666-C2D2054A78BC}">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1600" dirty="0"/>
            <a:t>For procurement officials, stricter:</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CAC31AC3-7168-4585-8942-339EB55BC14B}">
      <dgm:prSet phldrT="[Text]" custT="1"/>
      <dgm:spPr/>
      <dgm:t>
        <a:bodyPr/>
        <a:lstStyle/>
        <a:p>
          <a:r>
            <a:rPr lang="en-US" sz="2000" dirty="0"/>
            <a:t>Official must declare any conflict</a:t>
          </a:r>
        </a:p>
      </dgm:t>
    </dgm:pt>
    <dgm:pt modelId="{5B618CB5-A33A-4F5D-A2F3-C3C127C5B0AC}" type="parTrans" cxnId="{1DC8DC0A-D17A-4796-94F5-74BE80907A04}">
      <dgm:prSet/>
      <dgm:spPr/>
      <dgm:t>
        <a:bodyPr/>
        <a:lstStyle/>
        <a:p>
          <a:endParaRPr lang="en-US"/>
        </a:p>
      </dgm:t>
    </dgm:pt>
    <dgm:pt modelId="{90096C4D-F73F-45AA-8903-38B1EF4D8265}" type="sibTrans" cxnId="{1DC8DC0A-D17A-4796-94F5-74BE80907A04}">
      <dgm:prSet/>
      <dgm:spPr/>
      <dgm:t>
        <a:bodyPr/>
        <a:lstStyle/>
        <a:p>
          <a:endParaRPr lang="en-US"/>
        </a:p>
      </dgm:t>
    </dgm:pt>
    <dgm:pt modelId="{15E17D02-16A4-4F34-B3E8-63310675ECC1}">
      <dgm:prSet phldrT="[Text]" custT="1"/>
      <dgm:spPr/>
      <dgm:t>
        <a:bodyPr/>
        <a:lstStyle/>
        <a:p>
          <a:r>
            <a:rPr lang="en-US" sz="2000" dirty="0"/>
            <a:t>Vendor may not influence procurement or oversight</a:t>
          </a:r>
        </a:p>
      </dgm:t>
    </dgm:pt>
    <dgm:pt modelId="{1223FFFC-FBAA-43AC-99D1-68077F041095}" type="parTrans" cxnId="{57953187-A97A-48E5-B579-CD09EF8954E7}">
      <dgm:prSet/>
      <dgm:spPr/>
      <dgm:t>
        <a:bodyPr/>
        <a:lstStyle/>
        <a:p>
          <a:endParaRPr lang="en-US"/>
        </a:p>
      </dgm:t>
    </dgm:pt>
    <dgm:pt modelId="{AAE82D8B-6346-476E-BC2F-7E6443D103FE}" type="sibTrans" cxnId="{57953187-A97A-48E5-B579-CD09EF8954E7}">
      <dgm:prSet/>
      <dgm:spPr/>
      <dgm:t>
        <a:bodyPr/>
        <a:lstStyle/>
        <a:p>
          <a:endParaRPr lang="en-US"/>
        </a:p>
      </dgm:t>
    </dgm:pt>
    <dgm:pt modelId="{BD3C886F-5D0E-4F43-9DE1-D61503F5E3AA}">
      <dgm:prSet phldrT="[Text]" custT="1"/>
      <dgm:spPr/>
      <dgm:t>
        <a:bodyPr/>
        <a:lstStyle/>
        <a:p>
          <a:r>
            <a:rPr lang="en-US" sz="1600" dirty="0"/>
            <a:t>Gift limit</a:t>
          </a:r>
        </a:p>
      </dgm:t>
    </dgm:pt>
    <dgm:pt modelId="{9EF0199C-672B-484A-91C5-7355DA93D1B2}" type="parTrans" cxnId="{FD4B71F9-379E-4D68-ACC5-FD1D1D0DD782}">
      <dgm:prSet/>
      <dgm:spPr/>
      <dgm:t>
        <a:bodyPr/>
        <a:lstStyle/>
        <a:p>
          <a:endParaRPr lang="en-US"/>
        </a:p>
      </dgm:t>
    </dgm:pt>
    <dgm:pt modelId="{EC695A31-A829-4EA5-99D3-B0BD511DAA74}" type="sibTrans" cxnId="{FD4B71F9-379E-4D68-ACC5-FD1D1D0DD782}">
      <dgm:prSet/>
      <dgm:spPr/>
      <dgm:t>
        <a:bodyPr/>
        <a:lstStyle/>
        <a:p>
          <a:endParaRPr lang="en-US"/>
        </a:p>
      </dgm:t>
    </dgm:pt>
    <dgm:pt modelId="{A82A01FC-4B57-47FC-968E-E0B93CE6C6E9}">
      <dgm:prSet phldrT="[Text]" custT="1"/>
      <dgm:spPr/>
      <dgm:t>
        <a:bodyPr/>
        <a:lstStyle/>
        <a:p>
          <a:r>
            <a:rPr lang="en-US" sz="1600" dirty="0"/>
            <a:t>“Revolving door” limits</a:t>
          </a:r>
        </a:p>
      </dgm:t>
    </dgm:pt>
    <dgm:pt modelId="{FA6F09BA-DBF4-48CD-BCBA-553B994DA844}" type="parTrans" cxnId="{0345F14A-5822-49F1-9BA2-4AAACAAAF7BB}">
      <dgm:prSet/>
      <dgm:spPr/>
      <dgm:t>
        <a:bodyPr/>
        <a:lstStyle/>
        <a:p>
          <a:endParaRPr lang="en-US"/>
        </a:p>
      </dgm:t>
    </dgm:pt>
    <dgm:pt modelId="{21550233-9BE5-4CC6-B890-5F59FB434826}" type="sibTrans" cxnId="{0345F14A-5822-49F1-9BA2-4AAACAAAF7BB}">
      <dgm:prSet/>
      <dgm:spPr/>
      <dgm:t>
        <a:bodyPr/>
        <a:lstStyle/>
        <a:p>
          <a:endParaRPr lang="en-US"/>
        </a:p>
      </dgm:t>
    </dgm:pt>
    <dgm:pt modelId="{C68A0068-16D9-4BA8-87B5-8A42D2473637}">
      <dgm:prSet phldrT="[Text]" custT="1"/>
      <dgm:spPr/>
      <dgm:t>
        <a:bodyPr/>
        <a:lstStyle/>
        <a:p>
          <a:r>
            <a:rPr lang="en-US" sz="1600" dirty="0"/>
            <a:t>No disclosure of bidder or procurement-sensitive information</a:t>
          </a:r>
        </a:p>
      </dgm:t>
    </dgm:pt>
    <dgm:pt modelId="{F0F5DFBE-E5D6-4846-9F13-6DE755A09407}" type="parTrans" cxnId="{D30D486D-37D7-43A6-8F6F-D01D302EC4F9}">
      <dgm:prSet/>
      <dgm:spPr/>
      <dgm:t>
        <a:bodyPr/>
        <a:lstStyle/>
        <a:p>
          <a:endParaRPr lang="en-US"/>
        </a:p>
      </dgm:t>
    </dgm:pt>
    <dgm:pt modelId="{CE821D1D-3446-413E-94AE-DD8CFFD318D7}" type="sibTrans" cxnId="{D30D486D-37D7-43A6-8F6F-D01D302EC4F9}">
      <dgm:prSet/>
      <dgm:spPr/>
      <dgm:t>
        <a:bodyPr/>
        <a:lstStyle/>
        <a:p>
          <a:endParaRPr lang="en-US"/>
        </a:p>
      </dgm:t>
    </dgm:pt>
    <dgm:pt modelId="{CD1DD4C4-C671-4200-8280-40BB2F719421}">
      <dgm:prSet phldrT="[Text]" custT="1"/>
      <dgm:spPr/>
      <dgm:t>
        <a:bodyPr/>
        <a:lstStyle/>
        <a:p>
          <a:r>
            <a:rPr lang="en-US" sz="1600" dirty="0"/>
            <a:t>Publish common Code of Ethics for Contracting Entities, for vendors to mirror</a:t>
          </a:r>
        </a:p>
      </dgm:t>
    </dgm:pt>
    <dgm:pt modelId="{85D792E0-C9BE-429A-B193-186876FE7156}" type="parTrans" cxnId="{5401E0AE-7D2B-4E1E-A639-70DB1E49910F}">
      <dgm:prSet/>
      <dgm:spPr/>
      <dgm:t>
        <a:bodyPr/>
        <a:lstStyle/>
        <a:p>
          <a:endParaRPr lang="en-US"/>
        </a:p>
      </dgm:t>
    </dgm:pt>
    <dgm:pt modelId="{F2BA9260-27DE-4444-AA21-A3DCFF4B1ADA}" type="sibTrans" cxnId="{5401E0AE-7D2B-4E1E-A639-70DB1E49910F}">
      <dgm:prSet/>
      <dgm:spPr/>
      <dgm:t>
        <a:bodyPr/>
        <a:lstStyle/>
        <a:p>
          <a:endParaRPr lang="en-US"/>
        </a:p>
      </dgm:t>
    </dgm:pt>
    <dgm:pt modelId="{CFB2E4CA-80ED-4953-B661-CEF25B3611AC}">
      <dgm:prSet phldrT="[Text]" custT="1"/>
      <dgm:spPr/>
      <dgm:t>
        <a:bodyPr/>
        <a:lstStyle/>
        <a:p>
          <a:r>
            <a:rPr lang="en-US" sz="1800" dirty="0"/>
            <a:t>Organizational conflict of interest (OCI) barred if unfair advantage (Art. 19) – for “equal treatment”?</a:t>
          </a:r>
        </a:p>
      </dgm:t>
    </dgm:pt>
    <dgm:pt modelId="{BA792D37-0F2D-40BC-A5FE-E7B749CC700A}" type="parTrans" cxnId="{709D971E-0FEF-406F-B75A-4C07A82F1B29}">
      <dgm:prSet/>
      <dgm:spPr/>
      <dgm:t>
        <a:bodyPr/>
        <a:lstStyle/>
        <a:p>
          <a:endParaRPr lang="en-US"/>
        </a:p>
      </dgm:t>
    </dgm:pt>
    <dgm:pt modelId="{1BCA371E-5536-464B-8C22-BBE4FF86BF6D}" type="sibTrans" cxnId="{709D971E-0FEF-406F-B75A-4C07A82F1B29}">
      <dgm:prSet/>
      <dgm:spPr/>
      <dgm:t>
        <a:bodyPr/>
        <a:lstStyle/>
        <a:p>
          <a:endParaRPr lang="en-US"/>
        </a:p>
      </dgm:t>
    </dgm:pt>
    <dgm:pt modelId="{ED503119-2608-4219-BCFE-80CB1DE5CFE4}">
      <dgm:prSet phldrT="[Text]" custT="1"/>
      <dgm:spPr/>
      <dgm:t>
        <a:bodyPr/>
        <a:lstStyle/>
        <a:p>
          <a:r>
            <a:rPr lang="en-US" sz="1600" dirty="0"/>
            <a:t>Bar OCI’s for biased advice</a:t>
          </a:r>
        </a:p>
      </dgm:t>
    </dgm:pt>
    <dgm:pt modelId="{C2D3FF78-0091-4A4A-84F4-F5F4F66E371A}" type="parTrans" cxnId="{9324E672-3913-4C1D-AA49-DF9EE73D4365}">
      <dgm:prSet/>
      <dgm:spPr/>
      <dgm:t>
        <a:bodyPr/>
        <a:lstStyle/>
        <a:p>
          <a:endParaRPr lang="en-US"/>
        </a:p>
      </dgm:t>
    </dgm:pt>
    <dgm:pt modelId="{F3460B1C-B813-4B52-AACA-01C83846374B}" type="sibTrans" cxnId="{9324E672-3913-4C1D-AA49-DF9EE73D4365}">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3">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3">
        <dgm:presLayoutVars>
          <dgm:bulletEnabled val="1"/>
        </dgm:presLayoutVars>
      </dgm:prSet>
      <dgm:spPr/>
    </dgm:pt>
    <dgm:pt modelId="{18D6530C-184C-40FD-9E8C-7E647FB7D61E}" type="pres">
      <dgm:prSet presAssocID="{8640A470-1C2B-43F7-AE76-86965C5D7E8D}" presName="space" presStyleCnt="0"/>
      <dgm:spPr/>
    </dgm:pt>
    <dgm:pt modelId="{A3F9B3E3-683E-4AC0-B8A0-DFC21C9E00B1}" type="pres">
      <dgm:prSet presAssocID="{41161051-0386-4B70-90AD-40041FB0B137}" presName="composite" presStyleCnt="0"/>
      <dgm:spPr/>
    </dgm:pt>
    <dgm:pt modelId="{8E6D5C47-3AC7-4A32-A37A-EB161483C401}" type="pres">
      <dgm:prSet presAssocID="{41161051-0386-4B70-90AD-40041FB0B137}" presName="parTx" presStyleLbl="alignNode1" presStyleIdx="1" presStyleCnt="3">
        <dgm:presLayoutVars>
          <dgm:chMax val="0"/>
          <dgm:chPref val="0"/>
          <dgm:bulletEnabled val="1"/>
        </dgm:presLayoutVars>
      </dgm:prSet>
      <dgm:spPr/>
    </dgm:pt>
    <dgm:pt modelId="{AE4847B9-13D2-4C12-A199-E437ADF0E1F4}" type="pres">
      <dgm:prSet presAssocID="{41161051-0386-4B70-90AD-40041FB0B137}" presName="desTx" presStyleLbl="alignAccFollowNode1" presStyleIdx="1" presStyleCnt="3">
        <dgm:presLayoutVars>
          <dgm:bulletEnabled val="1"/>
        </dgm:presLayoutVars>
      </dgm:prSet>
      <dgm:spPr/>
    </dgm:pt>
    <dgm:pt modelId="{DB09372A-2A6F-41F7-9F27-80DCB253287F}" type="pres">
      <dgm:prSet presAssocID="{6335D2FD-DAE2-4DA5-B2F8-1918B3F4A205}"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2" presStyleCnt="3">
        <dgm:presLayoutVars>
          <dgm:chMax val="0"/>
          <dgm:chPref val="0"/>
          <dgm:bulletEnabled val="1"/>
        </dgm:presLayoutVars>
      </dgm:prSet>
      <dgm:spPr/>
    </dgm:pt>
    <dgm:pt modelId="{B2C70EFF-4051-4816-AE4A-923F1EEA1C36}" type="pres">
      <dgm:prSet presAssocID="{6F7C8442-B13B-4D30-8798-EDEDB9B8E102}" presName="desTx" presStyleLbl="alignAccFollowNode1" presStyleIdx="2" presStyleCnt="3" custLinFactNeighborX="721" custLinFactNeighborY="1023">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1DC8DC0A-D17A-4796-94F5-74BE80907A04}" srcId="{9AF3877F-9D3C-40DB-A272-B12CAE89D5A2}" destId="{CAC31AC3-7168-4585-8942-339EB55BC14B}" srcOrd="2" destOrd="0" parTransId="{5B618CB5-A33A-4F5D-A2F3-C3C127C5B0AC}" sibTransId="{90096C4D-F73F-45AA-8903-38B1EF4D8265}"/>
    <dgm:cxn modelId="{A48C3D0E-42BD-46C3-B9E4-B0D78C33BF94}" type="presOf" srcId="{CFB2E4CA-80ED-4953-B661-CEF25B3611AC}" destId="{AE4847B9-13D2-4C12-A199-E437ADF0E1F4}" srcOrd="0" destOrd="2" presId="urn:microsoft.com/office/officeart/2005/8/layout/hList1"/>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709D971E-0FEF-406F-B75A-4C07A82F1B29}" srcId="{41161051-0386-4B70-90AD-40041FB0B137}" destId="{CFB2E4CA-80ED-4953-B661-CEF25B3611AC}" srcOrd="2" destOrd="0" parTransId="{BA792D37-0F2D-40BC-A5FE-E7B749CC700A}" sibTransId="{1BCA371E-5536-464B-8C22-BBE4FF86BF6D}"/>
    <dgm:cxn modelId="{02E7072A-C983-421E-8D26-301A24A31229}" type="presOf" srcId="{39831F26-8588-43A9-9F7B-A828F1486D75}" destId="{5CAF11CE-342C-467A-A028-F3068E4AC0A9}" srcOrd="0" destOrd="0" presId="urn:microsoft.com/office/officeart/2005/8/layout/hList1"/>
    <dgm:cxn modelId="{6AE9822D-286F-4238-9D59-FD3BB8379DAF}" type="presOf" srcId="{CD1DD4C4-C671-4200-8280-40BB2F719421}" destId="{B2C70EFF-4051-4816-AE4A-923F1EEA1C36}" srcOrd="0" destOrd="4" presId="urn:microsoft.com/office/officeart/2005/8/layout/hList1"/>
    <dgm:cxn modelId="{0B00D134-03E9-44C9-B666-C2D2054A78BC}" srcId="{41161051-0386-4B70-90AD-40041FB0B137}" destId="{559EF9BE-13F2-46C1-8B53-2024FFE1D0AD}" srcOrd="1" destOrd="0" parTransId="{2B722E7F-80F1-4FFB-99F8-E96D3C944EF3}" sibTransId="{F3DD1C32-5712-450C-8CB4-6E0546859019}"/>
    <dgm:cxn modelId="{8826E13D-26DA-4F33-9E06-DB8CF922FDAD}" type="presOf" srcId="{BD3C886F-5D0E-4F43-9DE1-D61503F5E3AA}" destId="{B2C70EFF-4051-4816-AE4A-923F1EEA1C36}" srcOrd="0" destOrd="1" presId="urn:microsoft.com/office/officeart/2005/8/layout/hList1"/>
    <dgm:cxn modelId="{E44F283E-CC9C-4890-B8D7-2FF6D628C846}" type="presOf" srcId="{559EF9BE-13F2-46C1-8B53-2024FFE1D0AD}" destId="{AE4847B9-13D2-4C12-A199-E437ADF0E1F4}" srcOrd="0" destOrd="1" presId="urn:microsoft.com/office/officeart/2005/8/layout/hList1"/>
    <dgm:cxn modelId="{8FEDD642-5859-4619-B020-1A41F6277863}" srcId="{39831F26-8588-43A9-9F7B-A828F1486D75}" destId="{6F7C8442-B13B-4D30-8798-EDEDB9B8E102}" srcOrd="2" destOrd="0" parTransId="{FF6A6C7B-A3FB-4A25-A6C0-18DD7CA47893}" sibTransId="{572E4B8C-DC93-4951-A53A-CD2AFE7ACD53}"/>
    <dgm:cxn modelId="{E3BE3544-3F21-4DBF-9B39-A1D6C18DA29E}" srcId="{39831F26-8588-43A9-9F7B-A828F1486D75}" destId="{41161051-0386-4B70-90AD-40041FB0B137}" srcOrd="1" destOrd="0" parTransId="{4A745242-8C12-439D-93D6-4F8ED3E8B6DD}" sibTransId="{6335D2FD-DAE2-4DA5-B2F8-1918B3F4A205}"/>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0345F14A-5822-49F1-9BA2-4AAACAAAF7BB}" srcId="{B8331066-A248-47DB-9D9B-41B1C93FA6AC}" destId="{A82A01FC-4B57-47FC-968E-E0B93CE6C6E9}" srcOrd="1" destOrd="0" parTransId="{FA6F09BA-DBF4-48CD-BCBA-553B994DA844}" sibTransId="{21550233-9BE5-4CC6-B890-5F59FB434826}"/>
    <dgm:cxn modelId="{F043FF6A-2FF4-4F4C-912F-272462CC3E5D}" type="presOf" srcId="{ED503119-2608-4219-BCFE-80CB1DE5CFE4}" destId="{B2C70EFF-4051-4816-AE4A-923F1EEA1C36}" srcOrd="0" destOrd="5" presId="urn:microsoft.com/office/officeart/2005/8/layout/hList1"/>
    <dgm:cxn modelId="{D30D486D-37D7-43A6-8F6F-D01D302EC4F9}" srcId="{B8331066-A248-47DB-9D9B-41B1C93FA6AC}" destId="{C68A0068-16D9-4BA8-87B5-8A42D2473637}" srcOrd="2" destOrd="0" parTransId="{F0F5DFBE-E5D6-4846-9F13-6DE755A09407}" sibTransId="{CE821D1D-3446-413E-94AE-DD8CFFD318D7}"/>
    <dgm:cxn modelId="{3119FE50-3F59-404A-BA43-9C870D0386E5}" type="presOf" srcId="{CAC31AC3-7168-4585-8942-339EB55BC14B}" destId="{BD1D2419-3FBE-4CDD-B9F0-2791A66260DC}" srcOrd="0" destOrd="2" presId="urn:microsoft.com/office/officeart/2005/8/layout/hList1"/>
    <dgm:cxn modelId="{9324E672-3913-4C1D-AA49-DF9EE73D4365}" srcId="{6F7C8442-B13B-4D30-8798-EDEDB9B8E102}" destId="{ED503119-2608-4219-BCFE-80CB1DE5CFE4}" srcOrd="2" destOrd="0" parTransId="{C2D3FF78-0091-4A4A-84F4-F5F4F66E371A}" sibTransId="{F3460B1C-B813-4B52-AACA-01C83846374B}"/>
    <dgm:cxn modelId="{0E8E1656-347A-4EEA-AEFA-2428897BDB32}" srcId="{41161051-0386-4B70-90AD-40041FB0B137}" destId="{10E4015F-5BB5-42BD-9766-1D74A7EB137F}" srcOrd="0" destOrd="0" parTransId="{F1A2BAFF-82A7-4B64-8DDE-0A2479FB2EF0}" sibTransId="{25CCF4F2-A357-4097-8F37-3078286900E1}"/>
    <dgm:cxn modelId="{6F9E537A-134D-4620-A234-2D54B84B4FAB}" type="presOf" srcId="{41161051-0386-4B70-90AD-40041FB0B137}" destId="{8E6D5C47-3AC7-4A32-A37A-EB161483C401}" srcOrd="0" destOrd="0" presId="urn:microsoft.com/office/officeart/2005/8/layout/hList1"/>
    <dgm:cxn modelId="{57953187-A97A-48E5-B579-CD09EF8954E7}" srcId="{9AF3877F-9D3C-40DB-A272-B12CAE89D5A2}" destId="{15E17D02-16A4-4F34-B3E8-63310675ECC1}" srcOrd="1" destOrd="0" parTransId="{1223FFFC-FBAA-43AC-99D1-68077F041095}" sibTransId="{AAE82D8B-6346-476E-BC2F-7E6443D103FE}"/>
    <dgm:cxn modelId="{97EA7695-F910-4260-876D-883BE34736B9}" type="presOf" srcId="{6F7C8442-B13B-4D30-8798-EDEDB9B8E102}" destId="{C3750E5D-B8B6-4E37-85C4-FF8FA966C67E}" srcOrd="0" destOrd="0" presId="urn:microsoft.com/office/officeart/2005/8/layout/hList1"/>
    <dgm:cxn modelId="{193723A7-3A85-412B-B9A3-7E73508CA3D3}" type="presOf" srcId="{C68A0068-16D9-4BA8-87B5-8A42D2473637}" destId="{B2C70EFF-4051-4816-AE4A-923F1EEA1C36}" srcOrd="0" destOrd="3" presId="urn:microsoft.com/office/officeart/2005/8/layout/hList1"/>
    <dgm:cxn modelId="{B35FF1AB-6861-4044-873A-7E2873BD5808}" type="presOf" srcId="{10E4015F-5BB5-42BD-9766-1D74A7EB137F}" destId="{AE4847B9-13D2-4C12-A199-E437ADF0E1F4}" srcOrd="0" destOrd="0" presId="urn:microsoft.com/office/officeart/2005/8/layout/hList1"/>
    <dgm:cxn modelId="{E34388AE-816A-4048-BBD9-B4567E1466D4}" type="presOf" srcId="{15E17D02-16A4-4F34-B3E8-63310675ECC1}" destId="{BD1D2419-3FBE-4CDD-B9F0-2791A66260DC}" srcOrd="0" destOrd="1" presId="urn:microsoft.com/office/officeart/2005/8/layout/hList1"/>
    <dgm:cxn modelId="{5401E0AE-7D2B-4E1E-A639-70DB1E49910F}" srcId="{6F7C8442-B13B-4D30-8798-EDEDB9B8E102}" destId="{CD1DD4C4-C671-4200-8280-40BB2F719421}" srcOrd="1" destOrd="0" parTransId="{85D792E0-C9BE-429A-B193-186876FE7156}" sibTransId="{F2BA9260-27DE-4444-AA21-A3DCFF4B1ADA}"/>
    <dgm:cxn modelId="{C24AECEF-A0B4-4EA8-BBA3-35D347B15FDF}" type="presOf" srcId="{A82A01FC-4B57-47FC-968E-E0B93CE6C6E9}" destId="{B2C70EFF-4051-4816-AE4A-923F1EEA1C36}" srcOrd="0" destOrd="2" presId="urn:microsoft.com/office/officeart/2005/8/layout/hList1"/>
    <dgm:cxn modelId="{DEB675F8-3D9A-433E-B7F4-7ED5E22682C2}" type="presOf" srcId="{2AA73B1B-15BB-43F3-8BE5-2D80983EA46D}" destId="{BD1D2419-3FBE-4CDD-B9F0-2791A66260DC}" srcOrd="0" destOrd="0" presId="urn:microsoft.com/office/officeart/2005/8/layout/hList1"/>
    <dgm:cxn modelId="{FD4B71F9-379E-4D68-ACC5-FD1D1D0DD782}" srcId="{B8331066-A248-47DB-9D9B-41B1C93FA6AC}" destId="{BD3C886F-5D0E-4F43-9DE1-D61503F5E3AA}" srcOrd="0" destOrd="0" parTransId="{9EF0199C-672B-484A-91C5-7355DA93D1B2}" sibTransId="{EC695A31-A829-4EA5-99D3-B0BD511DAA74}"/>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7CC3BB43-271B-4B64-889E-D9B9E3F6CB2E}" type="presParOf" srcId="{5CAF11CE-342C-467A-A028-F3068E4AC0A9}" destId="{A3F9B3E3-683E-4AC0-B8A0-DFC21C9E00B1}" srcOrd="2" destOrd="0" presId="urn:microsoft.com/office/officeart/2005/8/layout/hList1"/>
    <dgm:cxn modelId="{E6036043-3B42-4B9C-B00F-1400D6860A0E}" type="presParOf" srcId="{A3F9B3E3-683E-4AC0-B8A0-DFC21C9E00B1}" destId="{8E6D5C47-3AC7-4A32-A37A-EB161483C401}" srcOrd="0" destOrd="0" presId="urn:microsoft.com/office/officeart/2005/8/layout/hList1"/>
    <dgm:cxn modelId="{D8348EAF-E2DD-4EE3-BD38-97AAD9C9DF40}" type="presParOf" srcId="{A3F9B3E3-683E-4AC0-B8A0-DFC21C9E00B1}" destId="{AE4847B9-13D2-4C12-A199-E437ADF0E1F4}" srcOrd="1" destOrd="0" presId="urn:microsoft.com/office/officeart/2005/8/layout/hList1"/>
    <dgm:cxn modelId="{401D928D-6209-4EA7-9D89-979A5AC2B26B}" type="presParOf" srcId="{5CAF11CE-342C-467A-A028-F3068E4AC0A9}" destId="{DB09372A-2A6F-41F7-9F27-80DCB253287F}" srcOrd="3" destOrd="0" presId="urn:microsoft.com/office/officeart/2005/8/layout/hList1"/>
    <dgm:cxn modelId="{FF24F695-0E4F-46E9-B986-F6C308538F27}" type="presParOf" srcId="{5CAF11CE-342C-467A-A028-F3068E4AC0A9}" destId="{7F117BCF-9754-40F0-87AB-F69BDFC53F6A}" srcOrd="4"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9831F26-8588-43A9-9F7B-A828F1486D75}"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9AF3877F-9D3C-40DB-A272-B12CAE89D5A2}">
      <dgm:prSet phldrT="[Text]"/>
      <dgm:spPr/>
      <dgm:t>
        <a:bodyPr/>
        <a:lstStyle/>
        <a:p>
          <a:r>
            <a:rPr lang="en-US" dirty="0"/>
            <a:t>Current Georgia Law</a:t>
          </a:r>
        </a:p>
      </dgm:t>
    </dgm:pt>
    <dgm:pt modelId="{A03CE94A-2235-4BBE-A409-8548EA708067}" type="parTrans" cxnId="{4FC91119-8FAF-4B8A-96F2-5643F8BEBC29}">
      <dgm:prSet/>
      <dgm:spPr/>
      <dgm:t>
        <a:bodyPr/>
        <a:lstStyle/>
        <a:p>
          <a:endParaRPr lang="en-US"/>
        </a:p>
      </dgm:t>
    </dgm:pt>
    <dgm:pt modelId="{8640A470-1C2B-43F7-AE76-86965C5D7E8D}" type="sibTrans" cxnId="{4FC91119-8FAF-4B8A-96F2-5643F8BEBC29}">
      <dgm:prSet/>
      <dgm:spPr/>
      <dgm:t>
        <a:bodyPr/>
        <a:lstStyle/>
        <a:p>
          <a:endParaRPr lang="en-US"/>
        </a:p>
      </dgm:t>
    </dgm:pt>
    <dgm:pt modelId="{2AA73B1B-15BB-43F3-8BE5-2D80983EA46D}">
      <dgm:prSet phldrT="[Text]"/>
      <dgm:spPr/>
      <dgm:t>
        <a:bodyPr/>
        <a:lstStyle/>
        <a:p>
          <a:r>
            <a:rPr lang="en-US" dirty="0"/>
            <a:t>“White” list</a:t>
          </a:r>
        </a:p>
      </dgm:t>
    </dgm:pt>
    <dgm:pt modelId="{3A6C7A35-58B5-47CE-BAEB-95D6EC6D944E}" type="parTrans" cxnId="{04E55607-742B-4F0F-8F71-736753AAA48F}">
      <dgm:prSet/>
      <dgm:spPr/>
      <dgm:t>
        <a:bodyPr/>
        <a:lstStyle/>
        <a:p>
          <a:endParaRPr lang="en-US"/>
        </a:p>
      </dgm:t>
    </dgm:pt>
    <dgm:pt modelId="{B6F7C6EF-396E-4099-B4EF-FEEF21D395CB}" type="sibTrans" cxnId="{04E55607-742B-4F0F-8F71-736753AAA48F}">
      <dgm:prSet/>
      <dgm:spPr/>
      <dgm:t>
        <a:bodyPr/>
        <a:lstStyle/>
        <a:p>
          <a:endParaRPr lang="en-US"/>
        </a:p>
      </dgm:t>
    </dgm:pt>
    <dgm:pt modelId="{6531B0AA-2BC3-4081-A0A8-2F25FF0D3B11}">
      <dgm:prSet phldrT="[Text]"/>
      <dgm:spPr/>
      <dgm:t>
        <a:bodyPr/>
        <a:lstStyle/>
        <a:p>
          <a:r>
            <a:rPr lang="en-US" dirty="0"/>
            <a:t>“Black” list of </a:t>
          </a:r>
          <a:r>
            <a:rPr lang="en-US" i="1" dirty="0"/>
            <a:t>mala fide </a:t>
          </a:r>
          <a:r>
            <a:rPr lang="en-US" i="0" dirty="0"/>
            <a:t>(done with bad faith)</a:t>
          </a:r>
          <a:endParaRPr lang="en-US" dirty="0"/>
        </a:p>
      </dgm:t>
    </dgm:pt>
    <dgm:pt modelId="{C3F27102-7CF4-4733-B227-92A32EA2C915}" type="parTrans" cxnId="{A6CB6935-FFC9-496C-ABBB-8F2B3D5F2C3D}">
      <dgm:prSet/>
      <dgm:spPr/>
      <dgm:t>
        <a:bodyPr/>
        <a:lstStyle/>
        <a:p>
          <a:endParaRPr lang="en-US"/>
        </a:p>
      </dgm:t>
    </dgm:pt>
    <dgm:pt modelId="{D2EE28C9-DC59-4FBF-87CD-502FFC65FDA4}" type="sibTrans" cxnId="{A6CB6935-FFC9-496C-ABBB-8F2B3D5F2C3D}">
      <dgm:prSet/>
      <dgm:spPr/>
      <dgm:t>
        <a:bodyPr/>
        <a:lstStyle/>
        <a:p>
          <a:endParaRPr lang="en-US"/>
        </a:p>
      </dgm:t>
    </dgm:pt>
    <dgm:pt modelId="{41161051-0386-4B70-90AD-40041FB0B137}">
      <dgm:prSet phldrT="[Text]"/>
      <dgm:spPr/>
      <dgm:t>
        <a:bodyPr/>
        <a:lstStyle/>
        <a:p>
          <a:r>
            <a:rPr lang="en-US" dirty="0"/>
            <a:t>Draft Georgia Law</a:t>
          </a:r>
        </a:p>
      </dgm:t>
    </dgm:pt>
    <dgm:pt modelId="{4A745242-8C12-439D-93D6-4F8ED3E8B6DD}" type="parTrans" cxnId="{E3BE3544-3F21-4DBF-9B39-A1D6C18DA29E}">
      <dgm:prSet/>
      <dgm:spPr/>
      <dgm:t>
        <a:bodyPr/>
        <a:lstStyle/>
        <a:p>
          <a:endParaRPr lang="en-US"/>
        </a:p>
      </dgm:t>
    </dgm:pt>
    <dgm:pt modelId="{6335D2FD-DAE2-4DA5-B2F8-1918B3F4A205}" type="sibTrans" cxnId="{E3BE3544-3F21-4DBF-9B39-A1D6C18DA29E}">
      <dgm:prSet/>
      <dgm:spPr/>
      <dgm:t>
        <a:bodyPr/>
        <a:lstStyle/>
        <a:p>
          <a:endParaRPr lang="en-US"/>
        </a:p>
      </dgm:t>
    </dgm:pt>
    <dgm:pt modelId="{10E4015F-5BB5-42BD-9766-1D74A7EB137F}">
      <dgm:prSet phldrT="[Text]"/>
      <dgm:spPr/>
      <dgm:t>
        <a:bodyPr/>
        <a:lstStyle/>
        <a:p>
          <a:r>
            <a:rPr lang="en-US" dirty="0"/>
            <a:t>“Black” list, for:</a:t>
          </a:r>
        </a:p>
      </dgm:t>
    </dgm:pt>
    <dgm:pt modelId="{F1A2BAFF-82A7-4B64-8DDE-0A2479FB2EF0}" type="parTrans" cxnId="{0E8E1656-347A-4EEA-AEFA-2428897BDB32}">
      <dgm:prSet/>
      <dgm:spPr/>
      <dgm:t>
        <a:bodyPr/>
        <a:lstStyle/>
        <a:p>
          <a:endParaRPr lang="en-US"/>
        </a:p>
      </dgm:t>
    </dgm:pt>
    <dgm:pt modelId="{25CCF4F2-A357-4097-8F37-3078286900E1}" type="sibTrans" cxnId="{0E8E1656-347A-4EEA-AEFA-2428897BDB32}">
      <dgm:prSet/>
      <dgm:spPr/>
      <dgm:t>
        <a:bodyPr/>
        <a:lstStyle/>
        <a:p>
          <a:endParaRPr lang="en-US"/>
        </a:p>
      </dgm:t>
    </dgm:pt>
    <dgm:pt modelId="{6F7C8442-B13B-4D30-8798-EDEDB9B8E102}">
      <dgm:prSet phldrT="[Text]"/>
      <dgm:spPr/>
      <dgm:t>
        <a:bodyPr/>
        <a:lstStyle/>
        <a:p>
          <a:r>
            <a:rPr lang="en-US" dirty="0">
              <a:solidFill>
                <a:schemeClr val="tx1"/>
              </a:solidFill>
            </a:rPr>
            <a:t>Practices To Consider</a:t>
          </a:r>
        </a:p>
      </dgm:t>
    </dgm:pt>
    <dgm:pt modelId="{FF6A6C7B-A3FB-4A25-A6C0-18DD7CA47893}" type="parTrans" cxnId="{8FEDD642-5859-4619-B020-1A41F6277863}">
      <dgm:prSet/>
      <dgm:spPr/>
      <dgm:t>
        <a:bodyPr/>
        <a:lstStyle/>
        <a:p>
          <a:endParaRPr lang="en-US"/>
        </a:p>
      </dgm:t>
    </dgm:pt>
    <dgm:pt modelId="{572E4B8C-DC93-4951-A53A-CD2AFE7ACD53}" type="sibTrans" cxnId="{8FEDD642-5859-4619-B020-1A41F6277863}">
      <dgm:prSet/>
      <dgm:spPr/>
      <dgm:t>
        <a:bodyPr/>
        <a:lstStyle/>
        <a:p>
          <a:endParaRPr lang="en-US"/>
        </a:p>
      </dgm:t>
    </dgm:pt>
    <dgm:pt modelId="{B8331066-A248-47DB-9D9B-41B1C93FA6AC}">
      <dgm:prSet phldrT="[Text]" custT="1"/>
      <dgm:spPr/>
      <dgm:t>
        <a:bodyPr/>
        <a:lstStyle/>
        <a:p>
          <a:r>
            <a:rPr lang="en-US" sz="1800" dirty="0"/>
            <a:t>Integrating vendor information into (1) </a:t>
          </a:r>
          <a:r>
            <a:rPr lang="en-US" sz="1800" b="1" dirty="0"/>
            <a:t>qualification</a:t>
          </a:r>
          <a:r>
            <a:rPr lang="en-US" sz="1800" dirty="0"/>
            <a:t>, (2) </a:t>
          </a:r>
          <a:r>
            <a:rPr lang="en-US" sz="1800" b="1" dirty="0"/>
            <a:t>exclusion</a:t>
          </a:r>
          <a:r>
            <a:rPr lang="en-US" sz="1800" dirty="0"/>
            <a:t>, and (3) </a:t>
          </a:r>
          <a:r>
            <a:rPr lang="en-US" sz="1800" b="1" dirty="0"/>
            <a:t>past performance </a:t>
          </a:r>
          <a:r>
            <a:rPr lang="en-US" sz="1800" dirty="0"/>
            <a:t>evaluations</a:t>
          </a:r>
        </a:p>
      </dgm:t>
    </dgm:pt>
    <dgm:pt modelId="{1EF63EEC-57AC-4329-958B-BEDB1793A6C2}" type="parTrans" cxnId="{76FDEC17-423C-4D89-99D9-A6713B468C80}">
      <dgm:prSet/>
      <dgm:spPr/>
      <dgm:t>
        <a:bodyPr/>
        <a:lstStyle/>
        <a:p>
          <a:endParaRPr lang="en-US"/>
        </a:p>
      </dgm:t>
    </dgm:pt>
    <dgm:pt modelId="{46ADAA0E-3406-41D0-9A90-85E19F10289D}" type="sibTrans" cxnId="{76FDEC17-423C-4D89-99D9-A6713B468C80}">
      <dgm:prSet/>
      <dgm:spPr/>
      <dgm:t>
        <a:bodyPr/>
        <a:lstStyle/>
        <a:p>
          <a:endParaRPr lang="en-US"/>
        </a:p>
      </dgm:t>
    </dgm:pt>
    <dgm:pt modelId="{F68C4BC0-A220-42DC-A8DF-DDC8D5CF0EFA}">
      <dgm:prSet phldrT="[Text]" custT="1"/>
      <dgm:spPr/>
      <dgm:t>
        <a:bodyPr/>
        <a:lstStyle/>
        <a:p>
          <a:r>
            <a:rPr lang="en-US" sz="1800" b="1" dirty="0"/>
            <a:t>Approach</a:t>
          </a:r>
          <a:r>
            <a:rPr lang="en-US" sz="1800" dirty="0"/>
            <a:t>:  assessing </a:t>
          </a:r>
          <a:r>
            <a:rPr lang="en-US" sz="1800" b="1" dirty="0"/>
            <a:t>performance and reputational risks</a:t>
          </a:r>
        </a:p>
      </dgm:t>
    </dgm:pt>
    <dgm:pt modelId="{FB8A8155-2147-4946-9357-28FE5745E11E}" type="parTrans" cxnId="{3E4DE7BB-4E4B-45EA-9E5D-51C871C6E4D9}">
      <dgm:prSet/>
      <dgm:spPr/>
      <dgm:t>
        <a:bodyPr/>
        <a:lstStyle/>
        <a:p>
          <a:endParaRPr lang="en-US"/>
        </a:p>
      </dgm:t>
    </dgm:pt>
    <dgm:pt modelId="{C4B2BC3A-B259-4436-9408-F6FE4163026A}" type="sibTrans" cxnId="{3E4DE7BB-4E4B-45EA-9E5D-51C871C6E4D9}">
      <dgm:prSet/>
      <dgm:spPr/>
      <dgm:t>
        <a:bodyPr/>
        <a:lstStyle/>
        <a:p>
          <a:endParaRPr lang="en-US"/>
        </a:p>
      </dgm:t>
    </dgm:pt>
    <dgm:pt modelId="{8D164F9A-9DBB-436D-833A-D2727ECCD7DC}">
      <dgm:prSet phldrT="[Text]" custT="1"/>
      <dgm:spPr/>
      <dgm:t>
        <a:bodyPr/>
        <a:lstStyle/>
        <a:p>
          <a:r>
            <a:rPr lang="en-US" sz="1800" dirty="0"/>
            <a:t>Consider sharing </a:t>
          </a:r>
          <a:r>
            <a:rPr lang="en-US" sz="1800" b="1" dirty="0"/>
            <a:t>information internationally</a:t>
          </a:r>
        </a:p>
      </dgm:t>
    </dgm:pt>
    <dgm:pt modelId="{1F95D9A5-85A0-4D69-B887-BA88F4710B3D}" type="parTrans" cxnId="{7FFF7A83-AD62-4D68-A680-B73AFFD340AA}">
      <dgm:prSet/>
      <dgm:spPr/>
      <dgm:t>
        <a:bodyPr/>
        <a:lstStyle/>
        <a:p>
          <a:endParaRPr lang="en-US"/>
        </a:p>
      </dgm:t>
    </dgm:pt>
    <dgm:pt modelId="{AE618D6C-A839-4BC8-8899-0BB8A9DA267C}" type="sibTrans" cxnId="{7FFF7A83-AD62-4D68-A680-B73AFFD340AA}">
      <dgm:prSet/>
      <dgm:spPr/>
      <dgm:t>
        <a:bodyPr/>
        <a:lstStyle/>
        <a:p>
          <a:endParaRPr lang="en-US"/>
        </a:p>
      </dgm:t>
    </dgm:pt>
    <dgm:pt modelId="{45498EFC-2494-4302-96B0-639FED97AB02}">
      <dgm:prSet phldrT="[Text]"/>
      <dgm:spPr/>
      <dgm:t>
        <a:bodyPr/>
        <a:lstStyle/>
        <a:p>
          <a:r>
            <a:rPr lang="en-US" dirty="0"/>
            <a:t>Crime</a:t>
          </a:r>
        </a:p>
      </dgm:t>
    </dgm:pt>
    <dgm:pt modelId="{216580B0-B990-47A7-9041-D0B7203AF242}" type="parTrans" cxnId="{705BAB4F-C194-4941-891C-D0C138F672D0}">
      <dgm:prSet/>
      <dgm:spPr/>
      <dgm:t>
        <a:bodyPr/>
        <a:lstStyle/>
        <a:p>
          <a:endParaRPr lang="en-US"/>
        </a:p>
      </dgm:t>
    </dgm:pt>
    <dgm:pt modelId="{3E922D97-3ECD-4201-9347-38ADF919D082}" type="sibTrans" cxnId="{705BAB4F-C194-4941-891C-D0C138F672D0}">
      <dgm:prSet/>
      <dgm:spPr/>
      <dgm:t>
        <a:bodyPr/>
        <a:lstStyle/>
        <a:p>
          <a:endParaRPr lang="en-US"/>
        </a:p>
      </dgm:t>
    </dgm:pt>
    <dgm:pt modelId="{377FCE11-B4C9-49E7-AEE3-8277342CFA4F}">
      <dgm:prSet phldrT="[Text]"/>
      <dgm:spPr/>
      <dgm:t>
        <a:bodyPr/>
        <a:lstStyle/>
        <a:p>
          <a:r>
            <a:rPr lang="en-US" dirty="0"/>
            <a:t>Poor performance</a:t>
          </a:r>
        </a:p>
      </dgm:t>
    </dgm:pt>
    <dgm:pt modelId="{A9DE51C8-1EEA-4DDA-86BD-2CD8CEC60BBC}" type="parTrans" cxnId="{BDF51F92-3BEA-4BA3-8E92-D8BEAF4698AD}">
      <dgm:prSet/>
      <dgm:spPr/>
      <dgm:t>
        <a:bodyPr/>
        <a:lstStyle/>
        <a:p>
          <a:endParaRPr lang="en-US"/>
        </a:p>
      </dgm:t>
    </dgm:pt>
    <dgm:pt modelId="{4F1B40B3-9E75-41DF-B832-AE84B6C95754}" type="sibTrans" cxnId="{BDF51F92-3BEA-4BA3-8E92-D8BEAF4698AD}">
      <dgm:prSet/>
      <dgm:spPr/>
      <dgm:t>
        <a:bodyPr/>
        <a:lstStyle/>
        <a:p>
          <a:endParaRPr lang="en-US"/>
        </a:p>
      </dgm:t>
    </dgm:pt>
    <dgm:pt modelId="{3B262AF0-8743-4494-8BF4-163105216022}">
      <dgm:prSet phldrT="[Text]"/>
      <dgm:spPr/>
      <dgm:t>
        <a:bodyPr/>
        <a:lstStyle/>
        <a:p>
          <a:r>
            <a:rPr lang="en-US" dirty="0"/>
            <a:t>“Black” list applies to vendor’s “branches”</a:t>
          </a:r>
        </a:p>
      </dgm:t>
    </dgm:pt>
    <dgm:pt modelId="{D3B408D0-ED9F-45FE-A7CA-563A38F5A0F3}" type="parTrans" cxnId="{A78176C9-16AC-46E9-96DB-A887BD4AC600}">
      <dgm:prSet/>
      <dgm:spPr/>
      <dgm:t>
        <a:bodyPr/>
        <a:lstStyle/>
        <a:p>
          <a:endParaRPr lang="en-US"/>
        </a:p>
      </dgm:t>
    </dgm:pt>
    <dgm:pt modelId="{AF3FD5F5-F0A3-4016-8518-736DB711D16D}" type="sibTrans" cxnId="{A78176C9-16AC-46E9-96DB-A887BD4AC600}">
      <dgm:prSet/>
      <dgm:spPr/>
      <dgm:t>
        <a:bodyPr/>
        <a:lstStyle/>
        <a:p>
          <a:endParaRPr lang="en-US"/>
        </a:p>
      </dgm:t>
    </dgm:pt>
    <dgm:pt modelId="{9B8024C8-C705-4A19-98AE-4920484C0441}">
      <dgm:prSet phldrT="[Text]" custT="1"/>
      <dgm:spPr/>
      <dgm:t>
        <a:bodyPr/>
        <a:lstStyle/>
        <a:p>
          <a:r>
            <a:rPr lang="en-US" sz="1800" dirty="0"/>
            <a:t>Limiting exclusion to </a:t>
          </a:r>
          <a:r>
            <a:rPr lang="en-US" sz="1800" b="1" dirty="0"/>
            <a:t>affiliates with shared compliance</a:t>
          </a:r>
        </a:p>
      </dgm:t>
    </dgm:pt>
    <dgm:pt modelId="{6264F531-205E-48AB-B466-0379AC469AE7}" type="parTrans" cxnId="{C72621D5-51C8-4D59-B327-58A227645963}">
      <dgm:prSet/>
      <dgm:spPr/>
      <dgm:t>
        <a:bodyPr/>
        <a:lstStyle/>
        <a:p>
          <a:endParaRPr lang="en-US"/>
        </a:p>
      </dgm:t>
    </dgm:pt>
    <dgm:pt modelId="{97EA9136-C4F0-4FFE-9A4D-A6997E4A3DBD}" type="sibTrans" cxnId="{C72621D5-51C8-4D59-B327-58A227645963}">
      <dgm:prSet/>
      <dgm:spPr/>
      <dgm:t>
        <a:bodyPr/>
        <a:lstStyle/>
        <a:p>
          <a:endParaRPr lang="en-US"/>
        </a:p>
      </dgm:t>
    </dgm:pt>
    <dgm:pt modelId="{C965B58E-A0C4-48CB-ACA1-B2E9CC84FA71}">
      <dgm:prSet phldrT="[Text]" custT="1"/>
      <dgm:spPr/>
      <dgm:t>
        <a:bodyPr/>
        <a:lstStyle/>
        <a:p>
          <a:r>
            <a:rPr lang="en-US" sz="1800" b="0" dirty="0"/>
            <a:t>Clarifying </a:t>
          </a:r>
          <a:r>
            <a:rPr lang="en-US" sz="1800" b="1" dirty="0"/>
            <a:t>compliance “self-cleaning” </a:t>
          </a:r>
          <a:r>
            <a:rPr lang="en-US" sz="1800" b="0" dirty="0"/>
            <a:t>measures</a:t>
          </a:r>
        </a:p>
      </dgm:t>
    </dgm:pt>
    <dgm:pt modelId="{0ADF4071-E724-4B72-9796-A8D5765756C5}" type="parTrans" cxnId="{7B7CD4D3-10F2-4071-AA26-72FD29112DCD}">
      <dgm:prSet/>
      <dgm:spPr/>
      <dgm:t>
        <a:bodyPr/>
        <a:lstStyle/>
        <a:p>
          <a:endParaRPr lang="en-US"/>
        </a:p>
      </dgm:t>
    </dgm:pt>
    <dgm:pt modelId="{FB0659D9-3A93-453E-B18A-DBBA391AFA46}" type="sibTrans" cxnId="{7B7CD4D3-10F2-4071-AA26-72FD29112DCD}">
      <dgm:prSet/>
      <dgm:spPr/>
      <dgm:t>
        <a:bodyPr/>
        <a:lstStyle/>
        <a:p>
          <a:endParaRPr lang="en-US"/>
        </a:p>
      </dgm:t>
    </dgm:pt>
    <dgm:pt modelId="{AF55E448-D6FC-49E9-BDF2-056830DAFD5F}">
      <dgm:prSet phldrT="[Text]"/>
      <dgm:spPr/>
      <dgm:t>
        <a:bodyPr/>
        <a:lstStyle/>
        <a:p>
          <a:r>
            <a:rPr lang="en-US" dirty="0"/>
            <a:t>“White” list looks more like simple registration</a:t>
          </a:r>
        </a:p>
      </dgm:t>
    </dgm:pt>
    <dgm:pt modelId="{93FCBEDD-E4E1-4CCC-BED4-CEF896EB4CB0}" type="parTrans" cxnId="{148968F2-9134-4185-BCCC-2BB1FD0E169A}">
      <dgm:prSet/>
      <dgm:spPr/>
      <dgm:t>
        <a:bodyPr/>
        <a:lstStyle/>
        <a:p>
          <a:endParaRPr lang="en-US"/>
        </a:p>
      </dgm:t>
    </dgm:pt>
    <dgm:pt modelId="{1E9DA522-FB56-4BC4-99B4-34C7757112A3}" type="sibTrans" cxnId="{148968F2-9134-4185-BCCC-2BB1FD0E169A}">
      <dgm:prSet/>
      <dgm:spPr/>
      <dgm:t>
        <a:bodyPr/>
        <a:lstStyle/>
        <a:p>
          <a:endParaRPr lang="en-US"/>
        </a:p>
      </dgm:t>
    </dgm:pt>
    <dgm:pt modelId="{5CAF11CE-342C-467A-A028-F3068E4AC0A9}" type="pres">
      <dgm:prSet presAssocID="{39831F26-8588-43A9-9F7B-A828F1486D75}" presName="Name0" presStyleCnt="0">
        <dgm:presLayoutVars>
          <dgm:dir/>
          <dgm:animLvl val="lvl"/>
          <dgm:resizeHandles val="exact"/>
        </dgm:presLayoutVars>
      </dgm:prSet>
      <dgm:spPr/>
    </dgm:pt>
    <dgm:pt modelId="{FC1F7A09-1FBE-4F3F-BE1B-48DFEA8C09B2}" type="pres">
      <dgm:prSet presAssocID="{9AF3877F-9D3C-40DB-A272-B12CAE89D5A2}" presName="composite" presStyleCnt="0"/>
      <dgm:spPr/>
    </dgm:pt>
    <dgm:pt modelId="{FAE7B424-E3EB-4E4B-971C-0DBFE0C62250}" type="pres">
      <dgm:prSet presAssocID="{9AF3877F-9D3C-40DB-A272-B12CAE89D5A2}" presName="parTx" presStyleLbl="alignNode1" presStyleIdx="0" presStyleCnt="3">
        <dgm:presLayoutVars>
          <dgm:chMax val="0"/>
          <dgm:chPref val="0"/>
          <dgm:bulletEnabled val="1"/>
        </dgm:presLayoutVars>
      </dgm:prSet>
      <dgm:spPr/>
    </dgm:pt>
    <dgm:pt modelId="{BD1D2419-3FBE-4CDD-B9F0-2791A66260DC}" type="pres">
      <dgm:prSet presAssocID="{9AF3877F-9D3C-40DB-A272-B12CAE89D5A2}" presName="desTx" presStyleLbl="alignAccFollowNode1" presStyleIdx="0" presStyleCnt="3">
        <dgm:presLayoutVars>
          <dgm:bulletEnabled val="1"/>
        </dgm:presLayoutVars>
      </dgm:prSet>
      <dgm:spPr/>
    </dgm:pt>
    <dgm:pt modelId="{18D6530C-184C-40FD-9E8C-7E647FB7D61E}" type="pres">
      <dgm:prSet presAssocID="{8640A470-1C2B-43F7-AE76-86965C5D7E8D}" presName="space" presStyleCnt="0"/>
      <dgm:spPr/>
    </dgm:pt>
    <dgm:pt modelId="{A3F9B3E3-683E-4AC0-B8A0-DFC21C9E00B1}" type="pres">
      <dgm:prSet presAssocID="{41161051-0386-4B70-90AD-40041FB0B137}" presName="composite" presStyleCnt="0"/>
      <dgm:spPr/>
    </dgm:pt>
    <dgm:pt modelId="{8E6D5C47-3AC7-4A32-A37A-EB161483C401}" type="pres">
      <dgm:prSet presAssocID="{41161051-0386-4B70-90AD-40041FB0B137}" presName="parTx" presStyleLbl="alignNode1" presStyleIdx="1" presStyleCnt="3">
        <dgm:presLayoutVars>
          <dgm:chMax val="0"/>
          <dgm:chPref val="0"/>
          <dgm:bulletEnabled val="1"/>
        </dgm:presLayoutVars>
      </dgm:prSet>
      <dgm:spPr/>
    </dgm:pt>
    <dgm:pt modelId="{AE4847B9-13D2-4C12-A199-E437ADF0E1F4}" type="pres">
      <dgm:prSet presAssocID="{41161051-0386-4B70-90AD-40041FB0B137}" presName="desTx" presStyleLbl="alignAccFollowNode1" presStyleIdx="1" presStyleCnt="3">
        <dgm:presLayoutVars>
          <dgm:bulletEnabled val="1"/>
        </dgm:presLayoutVars>
      </dgm:prSet>
      <dgm:spPr/>
    </dgm:pt>
    <dgm:pt modelId="{DB09372A-2A6F-41F7-9F27-80DCB253287F}" type="pres">
      <dgm:prSet presAssocID="{6335D2FD-DAE2-4DA5-B2F8-1918B3F4A205}" presName="space" presStyleCnt="0"/>
      <dgm:spPr/>
    </dgm:pt>
    <dgm:pt modelId="{7F117BCF-9754-40F0-87AB-F69BDFC53F6A}" type="pres">
      <dgm:prSet presAssocID="{6F7C8442-B13B-4D30-8798-EDEDB9B8E102}" presName="composite" presStyleCnt="0"/>
      <dgm:spPr/>
    </dgm:pt>
    <dgm:pt modelId="{C3750E5D-B8B6-4E37-85C4-FF8FA966C67E}" type="pres">
      <dgm:prSet presAssocID="{6F7C8442-B13B-4D30-8798-EDEDB9B8E102}" presName="parTx" presStyleLbl="alignNode1" presStyleIdx="2" presStyleCnt="3">
        <dgm:presLayoutVars>
          <dgm:chMax val="0"/>
          <dgm:chPref val="0"/>
          <dgm:bulletEnabled val="1"/>
        </dgm:presLayoutVars>
      </dgm:prSet>
      <dgm:spPr/>
    </dgm:pt>
    <dgm:pt modelId="{B2C70EFF-4051-4816-AE4A-923F1EEA1C36}" type="pres">
      <dgm:prSet presAssocID="{6F7C8442-B13B-4D30-8798-EDEDB9B8E102}" presName="desTx" presStyleLbl="alignAccFollowNode1" presStyleIdx="2" presStyleCnt="3">
        <dgm:presLayoutVars>
          <dgm:bulletEnabled val="1"/>
        </dgm:presLayoutVars>
      </dgm:prSet>
      <dgm:spPr/>
    </dgm:pt>
  </dgm:ptLst>
  <dgm:cxnLst>
    <dgm:cxn modelId="{04E55607-742B-4F0F-8F71-736753AAA48F}" srcId="{9AF3877F-9D3C-40DB-A272-B12CAE89D5A2}" destId="{2AA73B1B-15BB-43F3-8BE5-2D80983EA46D}" srcOrd="0" destOrd="0" parTransId="{3A6C7A35-58B5-47CE-BAEB-95D6EC6D944E}" sibTransId="{B6F7C6EF-396E-4099-B4EF-FEEF21D395CB}"/>
    <dgm:cxn modelId="{76FDEC17-423C-4D89-99D9-A6713B468C80}" srcId="{6F7C8442-B13B-4D30-8798-EDEDB9B8E102}" destId="{B8331066-A248-47DB-9D9B-41B1C93FA6AC}" srcOrd="0" destOrd="0" parTransId="{1EF63EEC-57AC-4329-958B-BEDB1793A6C2}" sibTransId="{46ADAA0E-3406-41D0-9A90-85E19F10289D}"/>
    <dgm:cxn modelId="{4FC91119-8FAF-4B8A-96F2-5643F8BEBC29}" srcId="{39831F26-8588-43A9-9F7B-A828F1486D75}" destId="{9AF3877F-9D3C-40DB-A272-B12CAE89D5A2}" srcOrd="0" destOrd="0" parTransId="{A03CE94A-2235-4BBE-A409-8548EA708067}" sibTransId="{8640A470-1C2B-43F7-AE76-86965C5D7E8D}"/>
    <dgm:cxn modelId="{731A4622-E7C6-4C25-BD94-DB0BC82C8CEA}" type="presOf" srcId="{6531B0AA-2BC3-4081-A0A8-2F25FF0D3B11}" destId="{BD1D2419-3FBE-4CDD-B9F0-2791A66260DC}" srcOrd="0" destOrd="1" presId="urn:microsoft.com/office/officeart/2005/8/layout/hList1"/>
    <dgm:cxn modelId="{7C6E2E23-2758-4FFF-A98B-0D36EF83B142}" type="presOf" srcId="{AF55E448-D6FC-49E9-BDF2-056830DAFD5F}" destId="{AE4847B9-13D2-4C12-A199-E437ADF0E1F4}" srcOrd="0" destOrd="4" presId="urn:microsoft.com/office/officeart/2005/8/layout/hList1"/>
    <dgm:cxn modelId="{536FF723-C75B-4B3A-944E-A7B56B47CB63}" type="presOf" srcId="{45498EFC-2494-4302-96B0-639FED97AB02}" destId="{AE4847B9-13D2-4C12-A199-E437ADF0E1F4}" srcOrd="0" destOrd="1" presId="urn:microsoft.com/office/officeart/2005/8/layout/hList1"/>
    <dgm:cxn modelId="{02E7072A-C983-421E-8D26-301A24A31229}" type="presOf" srcId="{39831F26-8588-43A9-9F7B-A828F1486D75}" destId="{5CAF11CE-342C-467A-A028-F3068E4AC0A9}" srcOrd="0" destOrd="0" presId="urn:microsoft.com/office/officeart/2005/8/layout/hList1"/>
    <dgm:cxn modelId="{A6CB6935-FFC9-496C-ABBB-8F2B3D5F2C3D}" srcId="{9AF3877F-9D3C-40DB-A272-B12CAE89D5A2}" destId="{6531B0AA-2BC3-4081-A0A8-2F25FF0D3B11}" srcOrd="1" destOrd="0" parTransId="{C3F27102-7CF4-4733-B227-92A32EA2C915}" sibTransId="{D2EE28C9-DC59-4FBF-87CD-502FFC65FDA4}"/>
    <dgm:cxn modelId="{8FEDD642-5859-4619-B020-1A41F6277863}" srcId="{39831F26-8588-43A9-9F7B-A828F1486D75}" destId="{6F7C8442-B13B-4D30-8798-EDEDB9B8E102}" srcOrd="2" destOrd="0" parTransId="{FF6A6C7B-A3FB-4A25-A6C0-18DD7CA47893}" sibTransId="{572E4B8C-DC93-4951-A53A-CD2AFE7ACD53}"/>
    <dgm:cxn modelId="{E3BE3544-3F21-4DBF-9B39-A1D6C18DA29E}" srcId="{39831F26-8588-43A9-9F7B-A828F1486D75}" destId="{41161051-0386-4B70-90AD-40041FB0B137}" srcOrd="1" destOrd="0" parTransId="{4A745242-8C12-439D-93D6-4F8ED3E8B6DD}" sibTransId="{6335D2FD-DAE2-4DA5-B2F8-1918B3F4A205}"/>
    <dgm:cxn modelId="{7FB39564-C90F-439F-A474-FD1F1D4BF35B}" type="presOf" srcId="{B8331066-A248-47DB-9D9B-41B1C93FA6AC}" destId="{B2C70EFF-4051-4816-AE4A-923F1EEA1C36}" srcOrd="0" destOrd="0" presId="urn:microsoft.com/office/officeart/2005/8/layout/hList1"/>
    <dgm:cxn modelId="{95729665-B9F2-4FC3-BE82-EAE19126A264}" type="presOf" srcId="{9AF3877F-9D3C-40DB-A272-B12CAE89D5A2}" destId="{FAE7B424-E3EB-4E4B-971C-0DBFE0C62250}" srcOrd="0" destOrd="0" presId="urn:microsoft.com/office/officeart/2005/8/layout/hList1"/>
    <dgm:cxn modelId="{705BAB4F-C194-4941-891C-D0C138F672D0}" srcId="{10E4015F-5BB5-42BD-9766-1D74A7EB137F}" destId="{45498EFC-2494-4302-96B0-639FED97AB02}" srcOrd="0" destOrd="0" parTransId="{216580B0-B990-47A7-9041-D0B7203AF242}" sibTransId="{3E922D97-3ECD-4201-9347-38ADF919D082}"/>
    <dgm:cxn modelId="{417C6772-CE54-46BE-8962-8890C9833DCB}" type="presOf" srcId="{9B8024C8-C705-4A19-98AE-4920484C0441}" destId="{B2C70EFF-4051-4816-AE4A-923F1EEA1C36}" srcOrd="0" destOrd="3" presId="urn:microsoft.com/office/officeart/2005/8/layout/hList1"/>
    <dgm:cxn modelId="{0E8E1656-347A-4EEA-AEFA-2428897BDB32}" srcId="{41161051-0386-4B70-90AD-40041FB0B137}" destId="{10E4015F-5BB5-42BD-9766-1D74A7EB137F}" srcOrd="0" destOrd="0" parTransId="{F1A2BAFF-82A7-4B64-8DDE-0A2479FB2EF0}" sibTransId="{25CCF4F2-A357-4097-8F37-3078286900E1}"/>
    <dgm:cxn modelId="{6F9E537A-134D-4620-A234-2D54B84B4FAB}" type="presOf" srcId="{41161051-0386-4B70-90AD-40041FB0B137}" destId="{8E6D5C47-3AC7-4A32-A37A-EB161483C401}" srcOrd="0" destOrd="0" presId="urn:microsoft.com/office/officeart/2005/8/layout/hList1"/>
    <dgm:cxn modelId="{7FFF7A83-AD62-4D68-A680-B73AFFD340AA}" srcId="{6F7C8442-B13B-4D30-8798-EDEDB9B8E102}" destId="{8D164F9A-9DBB-436D-833A-D2727ECCD7DC}" srcOrd="1" destOrd="0" parTransId="{1F95D9A5-85A0-4D69-B887-BA88F4710B3D}" sibTransId="{AE618D6C-A839-4BC8-8899-0BB8A9DA267C}"/>
    <dgm:cxn modelId="{BDF51F92-3BEA-4BA3-8E92-D8BEAF4698AD}" srcId="{10E4015F-5BB5-42BD-9766-1D74A7EB137F}" destId="{377FCE11-B4C9-49E7-AEE3-8277342CFA4F}" srcOrd="1" destOrd="0" parTransId="{A9DE51C8-1EEA-4DDA-86BD-2CD8CEC60BBC}" sibTransId="{4F1B40B3-9E75-41DF-B832-AE84B6C95754}"/>
    <dgm:cxn modelId="{97EA7695-F910-4260-876D-883BE34736B9}" type="presOf" srcId="{6F7C8442-B13B-4D30-8798-EDEDB9B8E102}" destId="{C3750E5D-B8B6-4E37-85C4-FF8FA966C67E}" srcOrd="0" destOrd="0" presId="urn:microsoft.com/office/officeart/2005/8/layout/hList1"/>
    <dgm:cxn modelId="{A572AD9B-DA89-4D62-B72C-D39D82761876}" type="presOf" srcId="{8D164F9A-9DBB-436D-833A-D2727ECCD7DC}" destId="{B2C70EFF-4051-4816-AE4A-923F1EEA1C36}" srcOrd="0" destOrd="1" presId="urn:microsoft.com/office/officeart/2005/8/layout/hList1"/>
    <dgm:cxn modelId="{B35FF1AB-6861-4044-873A-7E2873BD5808}" type="presOf" srcId="{10E4015F-5BB5-42BD-9766-1D74A7EB137F}" destId="{AE4847B9-13D2-4C12-A199-E437ADF0E1F4}" srcOrd="0" destOrd="0" presId="urn:microsoft.com/office/officeart/2005/8/layout/hList1"/>
    <dgm:cxn modelId="{3E4DE7BB-4E4B-45EA-9E5D-51C871C6E4D9}" srcId="{6F7C8442-B13B-4D30-8798-EDEDB9B8E102}" destId="{F68C4BC0-A220-42DC-A8DF-DDC8D5CF0EFA}" srcOrd="2" destOrd="0" parTransId="{FB8A8155-2147-4946-9357-28FE5745E11E}" sibTransId="{C4B2BC3A-B259-4436-9408-F6FE4163026A}"/>
    <dgm:cxn modelId="{25F859C6-B07A-4179-A876-AC217FE2B60B}" type="presOf" srcId="{C965B58E-A0C4-48CB-ACA1-B2E9CC84FA71}" destId="{B2C70EFF-4051-4816-AE4A-923F1EEA1C36}" srcOrd="0" destOrd="4" presId="urn:microsoft.com/office/officeart/2005/8/layout/hList1"/>
    <dgm:cxn modelId="{A78176C9-16AC-46E9-96DB-A887BD4AC600}" srcId="{41161051-0386-4B70-90AD-40041FB0B137}" destId="{3B262AF0-8743-4494-8BF4-163105216022}" srcOrd="1" destOrd="0" parTransId="{D3B408D0-ED9F-45FE-A7CA-563A38F5A0F3}" sibTransId="{AF3FD5F5-F0A3-4016-8518-736DB711D16D}"/>
    <dgm:cxn modelId="{B98430CB-A39A-4AB3-9DA4-10481175A9C0}" type="presOf" srcId="{3B262AF0-8743-4494-8BF4-163105216022}" destId="{AE4847B9-13D2-4C12-A199-E437ADF0E1F4}" srcOrd="0" destOrd="3" presId="urn:microsoft.com/office/officeart/2005/8/layout/hList1"/>
    <dgm:cxn modelId="{7B7CD4D3-10F2-4071-AA26-72FD29112DCD}" srcId="{6F7C8442-B13B-4D30-8798-EDEDB9B8E102}" destId="{C965B58E-A0C4-48CB-ACA1-B2E9CC84FA71}" srcOrd="4" destOrd="0" parTransId="{0ADF4071-E724-4B72-9796-A8D5765756C5}" sibTransId="{FB0659D9-3A93-453E-B18A-DBBA391AFA46}"/>
    <dgm:cxn modelId="{C72621D5-51C8-4D59-B327-58A227645963}" srcId="{6F7C8442-B13B-4D30-8798-EDEDB9B8E102}" destId="{9B8024C8-C705-4A19-98AE-4920484C0441}" srcOrd="3" destOrd="0" parTransId="{6264F531-205E-48AB-B466-0379AC469AE7}" sibTransId="{97EA9136-C4F0-4FFE-9A4D-A6997E4A3DBD}"/>
    <dgm:cxn modelId="{A256BAD5-71DE-402F-8152-C3D8CDEECBDD}" type="presOf" srcId="{F68C4BC0-A220-42DC-A8DF-DDC8D5CF0EFA}" destId="{B2C70EFF-4051-4816-AE4A-923F1EEA1C36}" srcOrd="0" destOrd="2" presId="urn:microsoft.com/office/officeart/2005/8/layout/hList1"/>
    <dgm:cxn modelId="{148968F2-9134-4185-BCCC-2BB1FD0E169A}" srcId="{41161051-0386-4B70-90AD-40041FB0B137}" destId="{AF55E448-D6FC-49E9-BDF2-056830DAFD5F}" srcOrd="2" destOrd="0" parTransId="{93FCBEDD-E4E1-4CCC-BED4-CEF896EB4CB0}" sibTransId="{1E9DA522-FB56-4BC4-99B4-34C7757112A3}"/>
    <dgm:cxn modelId="{A187F0F7-808C-483F-94B8-711EF4A94651}" type="presOf" srcId="{377FCE11-B4C9-49E7-AEE3-8277342CFA4F}" destId="{AE4847B9-13D2-4C12-A199-E437ADF0E1F4}" srcOrd="0" destOrd="2" presId="urn:microsoft.com/office/officeart/2005/8/layout/hList1"/>
    <dgm:cxn modelId="{DEB675F8-3D9A-433E-B7F4-7ED5E22682C2}" type="presOf" srcId="{2AA73B1B-15BB-43F3-8BE5-2D80983EA46D}" destId="{BD1D2419-3FBE-4CDD-B9F0-2791A66260DC}" srcOrd="0" destOrd="0" presId="urn:microsoft.com/office/officeart/2005/8/layout/hList1"/>
    <dgm:cxn modelId="{CF901734-53E8-4244-AA43-113B26B44B65}" type="presParOf" srcId="{5CAF11CE-342C-467A-A028-F3068E4AC0A9}" destId="{FC1F7A09-1FBE-4F3F-BE1B-48DFEA8C09B2}" srcOrd="0" destOrd="0" presId="urn:microsoft.com/office/officeart/2005/8/layout/hList1"/>
    <dgm:cxn modelId="{99465301-4F52-4513-815A-6A508C3F30FE}" type="presParOf" srcId="{FC1F7A09-1FBE-4F3F-BE1B-48DFEA8C09B2}" destId="{FAE7B424-E3EB-4E4B-971C-0DBFE0C62250}" srcOrd="0" destOrd="0" presId="urn:microsoft.com/office/officeart/2005/8/layout/hList1"/>
    <dgm:cxn modelId="{4AAF71EB-206E-402A-8C93-BE230C17CFD8}" type="presParOf" srcId="{FC1F7A09-1FBE-4F3F-BE1B-48DFEA8C09B2}" destId="{BD1D2419-3FBE-4CDD-B9F0-2791A66260DC}" srcOrd="1" destOrd="0" presId="urn:microsoft.com/office/officeart/2005/8/layout/hList1"/>
    <dgm:cxn modelId="{9F3A30FC-4BF9-4E34-A967-D2FD2EB06437}" type="presParOf" srcId="{5CAF11CE-342C-467A-A028-F3068E4AC0A9}" destId="{18D6530C-184C-40FD-9E8C-7E647FB7D61E}" srcOrd="1" destOrd="0" presId="urn:microsoft.com/office/officeart/2005/8/layout/hList1"/>
    <dgm:cxn modelId="{7CC3BB43-271B-4B64-889E-D9B9E3F6CB2E}" type="presParOf" srcId="{5CAF11CE-342C-467A-A028-F3068E4AC0A9}" destId="{A3F9B3E3-683E-4AC0-B8A0-DFC21C9E00B1}" srcOrd="2" destOrd="0" presId="urn:microsoft.com/office/officeart/2005/8/layout/hList1"/>
    <dgm:cxn modelId="{E6036043-3B42-4B9C-B00F-1400D6860A0E}" type="presParOf" srcId="{A3F9B3E3-683E-4AC0-B8A0-DFC21C9E00B1}" destId="{8E6D5C47-3AC7-4A32-A37A-EB161483C401}" srcOrd="0" destOrd="0" presId="urn:microsoft.com/office/officeart/2005/8/layout/hList1"/>
    <dgm:cxn modelId="{D8348EAF-E2DD-4EE3-BD38-97AAD9C9DF40}" type="presParOf" srcId="{A3F9B3E3-683E-4AC0-B8A0-DFC21C9E00B1}" destId="{AE4847B9-13D2-4C12-A199-E437ADF0E1F4}" srcOrd="1" destOrd="0" presId="urn:microsoft.com/office/officeart/2005/8/layout/hList1"/>
    <dgm:cxn modelId="{401D928D-6209-4EA7-9D89-979A5AC2B26B}" type="presParOf" srcId="{5CAF11CE-342C-467A-A028-F3068E4AC0A9}" destId="{DB09372A-2A6F-41F7-9F27-80DCB253287F}" srcOrd="3" destOrd="0" presId="urn:microsoft.com/office/officeart/2005/8/layout/hList1"/>
    <dgm:cxn modelId="{FF24F695-0E4F-46E9-B986-F6C308538F27}" type="presParOf" srcId="{5CAF11CE-342C-467A-A028-F3068E4AC0A9}" destId="{7F117BCF-9754-40F0-87AB-F69BDFC53F6A}" srcOrd="4" destOrd="0" presId="urn:microsoft.com/office/officeart/2005/8/layout/hList1"/>
    <dgm:cxn modelId="{CB6B1768-2331-4FE9-BB50-C65DE91D558A}" type="presParOf" srcId="{7F117BCF-9754-40F0-87AB-F69BDFC53F6A}" destId="{C3750E5D-B8B6-4E37-85C4-FF8FA966C67E}" srcOrd="0" destOrd="0" presId="urn:microsoft.com/office/officeart/2005/8/layout/hList1"/>
    <dgm:cxn modelId="{38965DE3-1F2D-4217-901A-86D6C2A13B12}" type="presParOf" srcId="{7F117BCF-9754-40F0-87AB-F69BDFC53F6A}" destId="{B2C70EFF-4051-4816-AE4A-923F1EEA1C3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6D39EDD-A578-45FC-8AEB-EC47082B7B72}"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FF0DB9B5-FB9A-4824-8FCD-8DDC56A624EE}">
      <dgm:prSet phldrT="[Text]"/>
      <dgm:spPr>
        <a:solidFill>
          <a:srgbClr val="00B0F0"/>
        </a:solidFill>
      </dgm:spPr>
      <dgm:t>
        <a:bodyPr/>
        <a:lstStyle/>
        <a:p>
          <a:r>
            <a:rPr lang="en-US" b="1" dirty="0">
              <a:solidFill>
                <a:schemeClr val="tx1"/>
              </a:solidFill>
            </a:rPr>
            <a:t>Suspension and Debarment Official</a:t>
          </a:r>
        </a:p>
      </dgm:t>
    </dgm:pt>
    <dgm:pt modelId="{3FADDA10-E63C-4F55-A78D-32AC0E226371}" type="parTrans" cxnId="{AFB20120-42A8-4FF7-A69B-093FDA2DA986}">
      <dgm:prSet/>
      <dgm:spPr/>
      <dgm:t>
        <a:bodyPr/>
        <a:lstStyle/>
        <a:p>
          <a:endParaRPr lang="en-US"/>
        </a:p>
      </dgm:t>
    </dgm:pt>
    <dgm:pt modelId="{9193C111-F130-49C6-A814-8FA89D4CA466}" type="sibTrans" cxnId="{AFB20120-42A8-4FF7-A69B-093FDA2DA986}">
      <dgm:prSet/>
      <dgm:spPr/>
      <dgm:t>
        <a:bodyPr/>
        <a:lstStyle/>
        <a:p>
          <a:endParaRPr lang="en-US"/>
        </a:p>
      </dgm:t>
    </dgm:pt>
    <dgm:pt modelId="{BBFF2932-802F-476A-8A73-23AA4931BC96}">
      <dgm:prSet phldrT="[Text]"/>
      <dgm:spPr>
        <a:solidFill>
          <a:srgbClr val="C00000"/>
        </a:solidFill>
      </dgm:spPr>
      <dgm:t>
        <a:bodyPr/>
        <a:lstStyle/>
        <a:p>
          <a:r>
            <a:rPr lang="en-US" dirty="0"/>
            <a:t>Investigators/ Prosecutors</a:t>
          </a:r>
        </a:p>
      </dgm:t>
    </dgm:pt>
    <dgm:pt modelId="{BD07FA2C-E39E-4E0B-80F9-57272036D27E}" type="parTrans" cxnId="{DC1326EB-FDB9-4378-A1C2-A9D51D7D4A3C}">
      <dgm:prSet/>
      <dgm:spPr/>
      <dgm:t>
        <a:bodyPr/>
        <a:lstStyle/>
        <a:p>
          <a:endParaRPr lang="en-US"/>
        </a:p>
      </dgm:t>
    </dgm:pt>
    <dgm:pt modelId="{1102E940-1EBC-4DB2-B294-8902B55B2D02}" type="sibTrans" cxnId="{DC1326EB-FDB9-4378-A1C2-A9D51D7D4A3C}">
      <dgm:prSet/>
      <dgm:spPr/>
      <dgm:t>
        <a:bodyPr/>
        <a:lstStyle/>
        <a:p>
          <a:endParaRPr lang="en-US"/>
        </a:p>
      </dgm:t>
    </dgm:pt>
    <dgm:pt modelId="{33E53104-9946-4B99-BB44-35293ED9968F}">
      <dgm:prSet phldrT="[Text]"/>
      <dgm:spPr>
        <a:solidFill>
          <a:srgbClr val="7030A0"/>
        </a:solidFill>
      </dgm:spPr>
      <dgm:t>
        <a:bodyPr/>
        <a:lstStyle/>
        <a:p>
          <a:r>
            <a:rPr lang="en-US" dirty="0"/>
            <a:t>Competitors</a:t>
          </a:r>
        </a:p>
      </dgm:t>
    </dgm:pt>
    <dgm:pt modelId="{EB1CA2A5-27F2-419B-9C83-9B22FFDB4576}" type="parTrans" cxnId="{E7A4F21C-B830-4B1F-B4C6-6D17D9AB16A5}">
      <dgm:prSet/>
      <dgm:spPr/>
      <dgm:t>
        <a:bodyPr/>
        <a:lstStyle/>
        <a:p>
          <a:endParaRPr lang="en-US"/>
        </a:p>
      </dgm:t>
    </dgm:pt>
    <dgm:pt modelId="{4BD0875A-9831-406A-B81F-EDD36114CD3B}" type="sibTrans" cxnId="{E7A4F21C-B830-4B1F-B4C6-6D17D9AB16A5}">
      <dgm:prSet/>
      <dgm:spPr/>
      <dgm:t>
        <a:bodyPr/>
        <a:lstStyle/>
        <a:p>
          <a:endParaRPr lang="en-US"/>
        </a:p>
      </dgm:t>
    </dgm:pt>
    <dgm:pt modelId="{5D63BAE1-7497-468C-8537-2A85AD010173}">
      <dgm:prSet phldrT="[Text]"/>
      <dgm:spPr>
        <a:solidFill>
          <a:srgbClr val="002060"/>
        </a:solidFill>
      </dgm:spPr>
      <dgm:t>
        <a:bodyPr/>
        <a:lstStyle/>
        <a:p>
          <a:r>
            <a:rPr lang="en-US" dirty="0"/>
            <a:t>Contracting Officers</a:t>
          </a:r>
        </a:p>
      </dgm:t>
    </dgm:pt>
    <dgm:pt modelId="{FBE760AE-7907-418E-A38A-BE9D58868054}" type="parTrans" cxnId="{B33DD994-EFF5-44C0-8BF8-2165050DF0BD}">
      <dgm:prSet/>
      <dgm:spPr/>
      <dgm:t>
        <a:bodyPr/>
        <a:lstStyle/>
        <a:p>
          <a:endParaRPr lang="en-US"/>
        </a:p>
      </dgm:t>
    </dgm:pt>
    <dgm:pt modelId="{FE0C7AB7-44EA-4384-A6FE-27BCA6723D3A}" type="sibTrans" cxnId="{B33DD994-EFF5-44C0-8BF8-2165050DF0BD}">
      <dgm:prSet/>
      <dgm:spPr/>
      <dgm:t>
        <a:bodyPr/>
        <a:lstStyle/>
        <a:p>
          <a:endParaRPr lang="en-US"/>
        </a:p>
      </dgm:t>
    </dgm:pt>
    <dgm:pt modelId="{D86AEEA5-6AC2-4968-A4E8-C172BB0E23D4}" type="pres">
      <dgm:prSet presAssocID="{A6D39EDD-A578-45FC-8AEB-EC47082B7B72}" presName="cycle" presStyleCnt="0">
        <dgm:presLayoutVars>
          <dgm:chMax val="1"/>
          <dgm:dir/>
          <dgm:animLvl val="ctr"/>
          <dgm:resizeHandles val="exact"/>
        </dgm:presLayoutVars>
      </dgm:prSet>
      <dgm:spPr/>
    </dgm:pt>
    <dgm:pt modelId="{4E32B914-CFAA-4486-ACA3-C5BFFB290C9A}" type="pres">
      <dgm:prSet presAssocID="{FF0DB9B5-FB9A-4824-8FCD-8DDC56A624EE}" presName="centerShape" presStyleLbl="node0" presStyleIdx="0" presStyleCnt="1" custLinFactNeighborX="-954" custLinFactNeighborY="-1625"/>
      <dgm:spPr/>
    </dgm:pt>
    <dgm:pt modelId="{06101629-35E4-45AF-B2F6-AB0C250EB019}" type="pres">
      <dgm:prSet presAssocID="{BD07FA2C-E39E-4E0B-80F9-57272036D27E}" presName="parTrans" presStyleLbl="bgSibTrans2D1" presStyleIdx="0" presStyleCnt="3"/>
      <dgm:spPr/>
    </dgm:pt>
    <dgm:pt modelId="{8FC512AB-68B8-4B7F-BF99-C9290B711482}" type="pres">
      <dgm:prSet presAssocID="{BBFF2932-802F-476A-8A73-23AA4931BC96}" presName="node" presStyleLbl="node1" presStyleIdx="0" presStyleCnt="3">
        <dgm:presLayoutVars>
          <dgm:bulletEnabled val="1"/>
        </dgm:presLayoutVars>
      </dgm:prSet>
      <dgm:spPr/>
    </dgm:pt>
    <dgm:pt modelId="{E14F508D-D072-4528-9509-213E77BB4E76}" type="pres">
      <dgm:prSet presAssocID="{EB1CA2A5-27F2-419B-9C83-9B22FFDB4576}" presName="parTrans" presStyleLbl="bgSibTrans2D1" presStyleIdx="1" presStyleCnt="3"/>
      <dgm:spPr/>
    </dgm:pt>
    <dgm:pt modelId="{107DE881-6334-4B4D-8D95-4A41B9595F68}" type="pres">
      <dgm:prSet presAssocID="{33E53104-9946-4B99-BB44-35293ED9968F}" presName="node" presStyleLbl="node1" presStyleIdx="1" presStyleCnt="3">
        <dgm:presLayoutVars>
          <dgm:bulletEnabled val="1"/>
        </dgm:presLayoutVars>
      </dgm:prSet>
      <dgm:spPr/>
    </dgm:pt>
    <dgm:pt modelId="{76AADDC1-0743-4ED1-B93A-17B272BE91D5}" type="pres">
      <dgm:prSet presAssocID="{FBE760AE-7907-418E-A38A-BE9D58868054}" presName="parTrans" presStyleLbl="bgSibTrans2D1" presStyleIdx="2" presStyleCnt="3"/>
      <dgm:spPr/>
    </dgm:pt>
    <dgm:pt modelId="{791ADCB3-5AA5-4846-B940-7EC6D829C8F8}" type="pres">
      <dgm:prSet presAssocID="{5D63BAE1-7497-468C-8537-2A85AD010173}" presName="node" presStyleLbl="node1" presStyleIdx="2" presStyleCnt="3">
        <dgm:presLayoutVars>
          <dgm:bulletEnabled val="1"/>
        </dgm:presLayoutVars>
      </dgm:prSet>
      <dgm:spPr/>
    </dgm:pt>
  </dgm:ptLst>
  <dgm:cxnLst>
    <dgm:cxn modelId="{CCA00A19-AAA4-4999-99D6-AA0AF7B60246}" type="presOf" srcId="{BBFF2932-802F-476A-8A73-23AA4931BC96}" destId="{8FC512AB-68B8-4B7F-BF99-C9290B711482}" srcOrd="0" destOrd="0" presId="urn:microsoft.com/office/officeart/2005/8/layout/radial4"/>
    <dgm:cxn modelId="{E7A4F21C-B830-4B1F-B4C6-6D17D9AB16A5}" srcId="{FF0DB9B5-FB9A-4824-8FCD-8DDC56A624EE}" destId="{33E53104-9946-4B99-BB44-35293ED9968F}" srcOrd="1" destOrd="0" parTransId="{EB1CA2A5-27F2-419B-9C83-9B22FFDB4576}" sibTransId="{4BD0875A-9831-406A-B81F-EDD36114CD3B}"/>
    <dgm:cxn modelId="{AFB20120-42A8-4FF7-A69B-093FDA2DA986}" srcId="{A6D39EDD-A578-45FC-8AEB-EC47082B7B72}" destId="{FF0DB9B5-FB9A-4824-8FCD-8DDC56A624EE}" srcOrd="0" destOrd="0" parTransId="{3FADDA10-E63C-4F55-A78D-32AC0E226371}" sibTransId="{9193C111-F130-49C6-A814-8FA89D4CA466}"/>
    <dgm:cxn modelId="{B2201E2C-6D41-4598-9487-0C129EEA0E99}" type="presOf" srcId="{BD07FA2C-E39E-4E0B-80F9-57272036D27E}" destId="{06101629-35E4-45AF-B2F6-AB0C250EB019}" srcOrd="0" destOrd="0" presId="urn:microsoft.com/office/officeart/2005/8/layout/radial4"/>
    <dgm:cxn modelId="{54CA2630-5C49-4785-847B-B04167E22378}" type="presOf" srcId="{A6D39EDD-A578-45FC-8AEB-EC47082B7B72}" destId="{D86AEEA5-6AC2-4968-A4E8-C172BB0E23D4}" srcOrd="0" destOrd="0" presId="urn:microsoft.com/office/officeart/2005/8/layout/radial4"/>
    <dgm:cxn modelId="{B794E861-10DA-4C3F-B4A3-15F6DBAE8A79}" type="presOf" srcId="{33E53104-9946-4B99-BB44-35293ED9968F}" destId="{107DE881-6334-4B4D-8D95-4A41B9595F68}" srcOrd="0" destOrd="0" presId="urn:microsoft.com/office/officeart/2005/8/layout/radial4"/>
    <dgm:cxn modelId="{342ACE4B-48AC-4ED7-BD84-C1C7AD19AEE8}" type="presOf" srcId="{FF0DB9B5-FB9A-4824-8FCD-8DDC56A624EE}" destId="{4E32B914-CFAA-4486-ACA3-C5BFFB290C9A}" srcOrd="0" destOrd="0" presId="urn:microsoft.com/office/officeart/2005/8/layout/radial4"/>
    <dgm:cxn modelId="{76120F91-C9DE-4B9F-BA8D-67F8F96E9366}" type="presOf" srcId="{FBE760AE-7907-418E-A38A-BE9D58868054}" destId="{76AADDC1-0743-4ED1-B93A-17B272BE91D5}" srcOrd="0" destOrd="0" presId="urn:microsoft.com/office/officeart/2005/8/layout/radial4"/>
    <dgm:cxn modelId="{B33DD994-EFF5-44C0-8BF8-2165050DF0BD}" srcId="{FF0DB9B5-FB9A-4824-8FCD-8DDC56A624EE}" destId="{5D63BAE1-7497-468C-8537-2A85AD010173}" srcOrd="2" destOrd="0" parTransId="{FBE760AE-7907-418E-A38A-BE9D58868054}" sibTransId="{FE0C7AB7-44EA-4384-A6FE-27BCA6723D3A}"/>
    <dgm:cxn modelId="{FD9529C8-EA0E-4827-B9ED-BF5B5C42FDCA}" type="presOf" srcId="{EB1CA2A5-27F2-419B-9C83-9B22FFDB4576}" destId="{E14F508D-D072-4528-9509-213E77BB4E76}" srcOrd="0" destOrd="0" presId="urn:microsoft.com/office/officeart/2005/8/layout/radial4"/>
    <dgm:cxn modelId="{FF3ED5E7-F5C8-4CFF-9E5D-ADDB7E957A6F}" type="presOf" srcId="{5D63BAE1-7497-468C-8537-2A85AD010173}" destId="{791ADCB3-5AA5-4846-B940-7EC6D829C8F8}" srcOrd="0" destOrd="0" presId="urn:microsoft.com/office/officeart/2005/8/layout/radial4"/>
    <dgm:cxn modelId="{DC1326EB-FDB9-4378-A1C2-A9D51D7D4A3C}" srcId="{FF0DB9B5-FB9A-4824-8FCD-8DDC56A624EE}" destId="{BBFF2932-802F-476A-8A73-23AA4931BC96}" srcOrd="0" destOrd="0" parTransId="{BD07FA2C-E39E-4E0B-80F9-57272036D27E}" sibTransId="{1102E940-1EBC-4DB2-B294-8902B55B2D02}"/>
    <dgm:cxn modelId="{EED9A74F-C8E1-4EA8-8136-4D9E2635CF6F}" type="presParOf" srcId="{D86AEEA5-6AC2-4968-A4E8-C172BB0E23D4}" destId="{4E32B914-CFAA-4486-ACA3-C5BFFB290C9A}" srcOrd="0" destOrd="0" presId="urn:microsoft.com/office/officeart/2005/8/layout/radial4"/>
    <dgm:cxn modelId="{E88648E3-C99C-49C1-B448-19444962E1D5}" type="presParOf" srcId="{D86AEEA5-6AC2-4968-A4E8-C172BB0E23D4}" destId="{06101629-35E4-45AF-B2F6-AB0C250EB019}" srcOrd="1" destOrd="0" presId="urn:microsoft.com/office/officeart/2005/8/layout/radial4"/>
    <dgm:cxn modelId="{088F2A2D-35E4-41BB-8BB2-61AF7E64AD0C}" type="presParOf" srcId="{D86AEEA5-6AC2-4968-A4E8-C172BB0E23D4}" destId="{8FC512AB-68B8-4B7F-BF99-C9290B711482}" srcOrd="2" destOrd="0" presId="urn:microsoft.com/office/officeart/2005/8/layout/radial4"/>
    <dgm:cxn modelId="{F6D20682-1EB3-4DFC-883C-B556A81D821C}" type="presParOf" srcId="{D86AEEA5-6AC2-4968-A4E8-C172BB0E23D4}" destId="{E14F508D-D072-4528-9509-213E77BB4E76}" srcOrd="3" destOrd="0" presId="urn:microsoft.com/office/officeart/2005/8/layout/radial4"/>
    <dgm:cxn modelId="{5CA4E228-FD32-4296-8845-E7446E3A2CC2}" type="presParOf" srcId="{D86AEEA5-6AC2-4968-A4E8-C172BB0E23D4}" destId="{107DE881-6334-4B4D-8D95-4A41B9595F68}" srcOrd="4" destOrd="0" presId="urn:microsoft.com/office/officeart/2005/8/layout/radial4"/>
    <dgm:cxn modelId="{BCE31DF3-6206-41D9-ADBE-B8E3AEA4AB6B}" type="presParOf" srcId="{D86AEEA5-6AC2-4968-A4E8-C172BB0E23D4}" destId="{76AADDC1-0743-4ED1-B93A-17B272BE91D5}" srcOrd="5" destOrd="0" presId="urn:microsoft.com/office/officeart/2005/8/layout/radial4"/>
    <dgm:cxn modelId="{04A4A3CD-50B9-42DC-9C66-75DA8E7E9548}" type="presParOf" srcId="{D86AEEA5-6AC2-4968-A4E8-C172BB0E23D4}" destId="{791ADCB3-5AA5-4846-B940-7EC6D829C8F8}" srcOrd="6" destOrd="0" presId="urn:microsoft.com/office/officeart/2005/8/layout/radial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8E11FA8-6B0C-472D-B9C4-84A803A2C855}" type="doc">
      <dgm:prSet loTypeId="urn:microsoft.com/office/officeart/2005/8/layout/pyramid2" loCatId="pyramid" qsTypeId="urn:microsoft.com/office/officeart/2005/8/quickstyle/simple3" qsCatId="simple" csTypeId="urn:microsoft.com/office/officeart/2005/8/colors/accent1_2" csCatId="accent1" phldr="1"/>
      <dgm:spPr/>
      <dgm:t>
        <a:bodyPr/>
        <a:lstStyle/>
        <a:p>
          <a:endParaRPr lang="en-US"/>
        </a:p>
      </dgm:t>
    </dgm:pt>
    <dgm:pt modelId="{F8803D70-4A47-4202-85BD-EBDFF86A0562}">
      <dgm:prSet phldrT="[Text]" custT="1"/>
      <dgm:spPr/>
      <dgm:t>
        <a:bodyPr/>
        <a:lstStyle/>
        <a:p>
          <a:r>
            <a:rPr lang="en-US" sz="2000" b="1" dirty="0">
              <a:solidFill>
                <a:srgbClr val="002060"/>
              </a:solidFill>
              <a:latin typeface="+mj-lt"/>
            </a:rPr>
            <a:t>Sanctions Board</a:t>
          </a:r>
        </a:p>
      </dgm:t>
    </dgm:pt>
    <dgm:pt modelId="{BC817896-0583-4B10-A50F-03E903E89797}" type="parTrans" cxnId="{143D646F-0385-4C1D-81B6-78EDB226F043}">
      <dgm:prSet/>
      <dgm:spPr/>
      <dgm:t>
        <a:bodyPr/>
        <a:lstStyle/>
        <a:p>
          <a:endParaRPr lang="en-US"/>
        </a:p>
      </dgm:t>
    </dgm:pt>
    <dgm:pt modelId="{A4E73820-1E74-4E59-AE29-C058FF1566DF}" type="sibTrans" cxnId="{143D646F-0385-4C1D-81B6-78EDB226F043}">
      <dgm:prSet/>
      <dgm:spPr/>
      <dgm:t>
        <a:bodyPr/>
        <a:lstStyle/>
        <a:p>
          <a:endParaRPr lang="en-US"/>
        </a:p>
      </dgm:t>
    </dgm:pt>
    <dgm:pt modelId="{D7428361-BE9E-4C09-B050-069D9979ECA9}">
      <dgm:prSet phldrT="[Text]" custT="1"/>
      <dgm:spPr/>
      <dgm:t>
        <a:bodyPr/>
        <a:lstStyle/>
        <a:p>
          <a:r>
            <a:rPr lang="en-US" sz="2000" b="1" dirty="0">
              <a:solidFill>
                <a:srgbClr val="002060"/>
              </a:solidFill>
              <a:latin typeface="+mj-lt"/>
            </a:rPr>
            <a:t>Suspension and Debarment Officer (SDO)</a:t>
          </a:r>
        </a:p>
      </dgm:t>
    </dgm:pt>
    <dgm:pt modelId="{9F4A1029-3980-45B1-83A9-8172D38B95F8}" type="parTrans" cxnId="{9BCDA36B-827D-4219-A0A8-3142BD0F2CCC}">
      <dgm:prSet/>
      <dgm:spPr/>
      <dgm:t>
        <a:bodyPr/>
        <a:lstStyle/>
        <a:p>
          <a:endParaRPr lang="en-US"/>
        </a:p>
      </dgm:t>
    </dgm:pt>
    <dgm:pt modelId="{3E9A54A4-FCEA-4DE4-BAD3-014E6934721E}" type="sibTrans" cxnId="{9BCDA36B-827D-4219-A0A8-3142BD0F2CCC}">
      <dgm:prSet/>
      <dgm:spPr/>
      <dgm:t>
        <a:bodyPr/>
        <a:lstStyle/>
        <a:p>
          <a:endParaRPr lang="en-US"/>
        </a:p>
      </dgm:t>
    </dgm:pt>
    <dgm:pt modelId="{4960C511-73AE-4F3B-A31B-C14B5BB9838A}">
      <dgm:prSet phldrT="[Text]"/>
      <dgm:spPr/>
      <dgm:t>
        <a:bodyPr/>
        <a:lstStyle/>
        <a:p>
          <a:r>
            <a:rPr lang="en-US" b="1" dirty="0">
              <a:solidFill>
                <a:srgbClr val="002060"/>
              </a:solidFill>
              <a:latin typeface="+mj-lt"/>
            </a:rPr>
            <a:t>Integrity Compliance </a:t>
          </a:r>
        </a:p>
        <a:p>
          <a:r>
            <a:rPr lang="en-US" b="1" dirty="0">
              <a:solidFill>
                <a:schemeClr val="tx1"/>
              </a:solidFill>
              <a:latin typeface="+mj-lt"/>
            </a:rPr>
            <a:t>Officers (within INT)</a:t>
          </a:r>
        </a:p>
      </dgm:t>
    </dgm:pt>
    <dgm:pt modelId="{44C60BAF-9AE7-49B6-A39E-582ED05F581F}" type="parTrans" cxnId="{97AA7FD9-71D2-4582-9383-E70CE9AD80B1}">
      <dgm:prSet/>
      <dgm:spPr/>
      <dgm:t>
        <a:bodyPr/>
        <a:lstStyle/>
        <a:p>
          <a:endParaRPr lang="en-US"/>
        </a:p>
      </dgm:t>
    </dgm:pt>
    <dgm:pt modelId="{9220F274-EDA9-4E67-A71A-AC25127017FE}" type="sibTrans" cxnId="{97AA7FD9-71D2-4582-9383-E70CE9AD80B1}">
      <dgm:prSet/>
      <dgm:spPr/>
      <dgm:t>
        <a:bodyPr/>
        <a:lstStyle/>
        <a:p>
          <a:endParaRPr lang="en-US"/>
        </a:p>
      </dgm:t>
    </dgm:pt>
    <dgm:pt modelId="{1CB27DC4-E2FF-459A-B3E6-AE9BE2BBD1E6}" type="pres">
      <dgm:prSet presAssocID="{B8E11FA8-6B0C-472D-B9C4-84A803A2C855}" presName="compositeShape" presStyleCnt="0">
        <dgm:presLayoutVars>
          <dgm:dir/>
          <dgm:resizeHandles/>
        </dgm:presLayoutVars>
      </dgm:prSet>
      <dgm:spPr/>
    </dgm:pt>
    <dgm:pt modelId="{3C987C07-D2F5-42F4-B915-A8C514492DAF}" type="pres">
      <dgm:prSet presAssocID="{B8E11FA8-6B0C-472D-B9C4-84A803A2C855}" presName="pyramid" presStyleLbl="node1" presStyleIdx="0" presStyleCnt="1" custScaleX="60978" custScaleY="97644" custLinFactNeighborX="4068" custLinFactNeighborY="3101"/>
      <dgm:spPr/>
    </dgm:pt>
    <dgm:pt modelId="{AE582327-A69B-4863-A229-E9FBAC54FDC0}" type="pres">
      <dgm:prSet presAssocID="{B8E11FA8-6B0C-472D-B9C4-84A803A2C855}" presName="theList" presStyleCnt="0"/>
      <dgm:spPr/>
    </dgm:pt>
    <dgm:pt modelId="{CD7B9B62-E282-4A93-9E42-9CFA1558D6E9}" type="pres">
      <dgm:prSet presAssocID="{F8803D70-4A47-4202-85BD-EBDFF86A0562}" presName="aNode" presStyleLbl="fgAcc1" presStyleIdx="0" presStyleCnt="3" custScaleX="80338" custScaleY="55864" custLinFactY="61946" custLinFactNeighborX="-5286" custLinFactNeighborY="100000">
        <dgm:presLayoutVars>
          <dgm:bulletEnabled val="1"/>
        </dgm:presLayoutVars>
      </dgm:prSet>
      <dgm:spPr/>
    </dgm:pt>
    <dgm:pt modelId="{56DD6FCD-C086-40D3-B61F-C3183C65A30C}" type="pres">
      <dgm:prSet presAssocID="{F8803D70-4A47-4202-85BD-EBDFF86A0562}" presName="aSpace" presStyleCnt="0"/>
      <dgm:spPr/>
    </dgm:pt>
    <dgm:pt modelId="{F987B699-42D8-476B-9CCC-EE77BB9D52A6}" type="pres">
      <dgm:prSet presAssocID="{D7428361-BE9E-4C09-B050-069D9979ECA9}" presName="aNode" presStyleLbl="fgAcc1" presStyleIdx="1" presStyleCnt="3" custScaleX="83421" custScaleY="75486" custLinFactY="89420" custLinFactNeighborX="-6642" custLinFactNeighborY="100000">
        <dgm:presLayoutVars>
          <dgm:bulletEnabled val="1"/>
        </dgm:presLayoutVars>
      </dgm:prSet>
      <dgm:spPr/>
    </dgm:pt>
    <dgm:pt modelId="{721C2A2A-DB54-4495-88D3-1DF7D77EBD81}" type="pres">
      <dgm:prSet presAssocID="{D7428361-BE9E-4C09-B050-069D9979ECA9}" presName="aSpace" presStyleCnt="0"/>
      <dgm:spPr/>
    </dgm:pt>
    <dgm:pt modelId="{37BFC09F-9B80-4D79-A854-28CD2DD9B77B}" type="pres">
      <dgm:prSet presAssocID="{4960C511-73AE-4F3B-A31B-C14B5BB9838A}" presName="aNode" presStyleLbl="fgAcc1" presStyleIdx="2" presStyleCnt="3" custScaleX="72022" custScaleY="62782" custLinFactY="-155159" custLinFactNeighborX="-7290" custLinFactNeighborY="-200000">
        <dgm:presLayoutVars>
          <dgm:bulletEnabled val="1"/>
        </dgm:presLayoutVars>
      </dgm:prSet>
      <dgm:spPr/>
    </dgm:pt>
    <dgm:pt modelId="{DC3FE654-E81E-4511-B65E-C09A47E1E37C}" type="pres">
      <dgm:prSet presAssocID="{4960C511-73AE-4F3B-A31B-C14B5BB9838A}" presName="aSpace" presStyleCnt="0"/>
      <dgm:spPr/>
    </dgm:pt>
  </dgm:ptLst>
  <dgm:cxnLst>
    <dgm:cxn modelId="{EAE39831-A222-4163-AFC2-192F95020C03}" type="presOf" srcId="{F8803D70-4A47-4202-85BD-EBDFF86A0562}" destId="{CD7B9B62-E282-4A93-9E42-9CFA1558D6E9}" srcOrd="0" destOrd="0" presId="urn:microsoft.com/office/officeart/2005/8/layout/pyramid2"/>
    <dgm:cxn modelId="{9BCDA36B-827D-4219-A0A8-3142BD0F2CCC}" srcId="{B8E11FA8-6B0C-472D-B9C4-84A803A2C855}" destId="{D7428361-BE9E-4C09-B050-069D9979ECA9}" srcOrd="1" destOrd="0" parTransId="{9F4A1029-3980-45B1-83A9-8172D38B95F8}" sibTransId="{3E9A54A4-FCEA-4DE4-BAD3-014E6934721E}"/>
    <dgm:cxn modelId="{1543496E-566C-40A0-A91A-C827AB69F4E7}" type="presOf" srcId="{D7428361-BE9E-4C09-B050-069D9979ECA9}" destId="{F987B699-42D8-476B-9CCC-EE77BB9D52A6}" srcOrd="0" destOrd="0" presId="urn:microsoft.com/office/officeart/2005/8/layout/pyramid2"/>
    <dgm:cxn modelId="{143D646F-0385-4C1D-81B6-78EDB226F043}" srcId="{B8E11FA8-6B0C-472D-B9C4-84A803A2C855}" destId="{F8803D70-4A47-4202-85BD-EBDFF86A0562}" srcOrd="0" destOrd="0" parTransId="{BC817896-0583-4B10-A50F-03E903E89797}" sibTransId="{A4E73820-1E74-4E59-AE29-C058FF1566DF}"/>
    <dgm:cxn modelId="{3A66758A-D54E-4943-ACF0-C0DEAD2131B9}" type="presOf" srcId="{4960C511-73AE-4F3B-A31B-C14B5BB9838A}" destId="{37BFC09F-9B80-4D79-A854-28CD2DD9B77B}" srcOrd="0" destOrd="0" presId="urn:microsoft.com/office/officeart/2005/8/layout/pyramid2"/>
    <dgm:cxn modelId="{97AA7FD9-71D2-4582-9383-E70CE9AD80B1}" srcId="{B8E11FA8-6B0C-472D-B9C4-84A803A2C855}" destId="{4960C511-73AE-4F3B-A31B-C14B5BB9838A}" srcOrd="2" destOrd="0" parTransId="{44C60BAF-9AE7-49B6-A39E-582ED05F581F}" sibTransId="{9220F274-EDA9-4E67-A71A-AC25127017FE}"/>
    <dgm:cxn modelId="{589666E4-B493-4A0D-A266-F34CC729B56F}" type="presOf" srcId="{B8E11FA8-6B0C-472D-B9C4-84A803A2C855}" destId="{1CB27DC4-E2FF-459A-B3E6-AE9BE2BBD1E6}" srcOrd="0" destOrd="0" presId="urn:microsoft.com/office/officeart/2005/8/layout/pyramid2"/>
    <dgm:cxn modelId="{22F74D03-F18A-4ADD-9326-492B4266CE57}" type="presParOf" srcId="{1CB27DC4-E2FF-459A-B3E6-AE9BE2BBD1E6}" destId="{3C987C07-D2F5-42F4-B915-A8C514492DAF}" srcOrd="0" destOrd="0" presId="urn:microsoft.com/office/officeart/2005/8/layout/pyramid2"/>
    <dgm:cxn modelId="{DDC36202-7EA7-49E4-9C99-41BC217B038B}" type="presParOf" srcId="{1CB27DC4-E2FF-459A-B3E6-AE9BE2BBD1E6}" destId="{AE582327-A69B-4863-A229-E9FBAC54FDC0}" srcOrd="1" destOrd="0" presId="urn:microsoft.com/office/officeart/2005/8/layout/pyramid2"/>
    <dgm:cxn modelId="{2B43C242-37C0-45CE-A845-0E97D7B516A9}" type="presParOf" srcId="{AE582327-A69B-4863-A229-E9FBAC54FDC0}" destId="{CD7B9B62-E282-4A93-9E42-9CFA1558D6E9}" srcOrd="0" destOrd="0" presId="urn:microsoft.com/office/officeart/2005/8/layout/pyramid2"/>
    <dgm:cxn modelId="{503240B2-F86C-482C-8F79-F8740B046553}" type="presParOf" srcId="{AE582327-A69B-4863-A229-E9FBAC54FDC0}" destId="{56DD6FCD-C086-40D3-B61F-C3183C65A30C}" srcOrd="1" destOrd="0" presId="urn:microsoft.com/office/officeart/2005/8/layout/pyramid2"/>
    <dgm:cxn modelId="{6D89DF04-D0B2-42F3-B91B-9A1F2178819C}" type="presParOf" srcId="{AE582327-A69B-4863-A229-E9FBAC54FDC0}" destId="{F987B699-42D8-476B-9CCC-EE77BB9D52A6}" srcOrd="2" destOrd="0" presId="urn:microsoft.com/office/officeart/2005/8/layout/pyramid2"/>
    <dgm:cxn modelId="{FA88A031-81CA-4A1E-BF79-E9A71064ED6E}" type="presParOf" srcId="{AE582327-A69B-4863-A229-E9FBAC54FDC0}" destId="{721C2A2A-DB54-4495-88D3-1DF7D77EBD81}" srcOrd="3" destOrd="0" presId="urn:microsoft.com/office/officeart/2005/8/layout/pyramid2"/>
    <dgm:cxn modelId="{F51C9148-EB4D-473E-A043-EBAEB2A7F4A1}" type="presParOf" srcId="{AE582327-A69B-4863-A229-E9FBAC54FDC0}" destId="{37BFC09F-9B80-4D79-A854-28CD2DD9B77B}" srcOrd="4" destOrd="0" presId="urn:microsoft.com/office/officeart/2005/8/layout/pyramid2"/>
    <dgm:cxn modelId="{3965F9FE-E916-4989-85CC-C77382E801F9}" type="presParOf" srcId="{AE582327-A69B-4863-A229-E9FBAC54FDC0}" destId="{DC3FE654-E81E-4511-B65E-C09A47E1E37C}" srcOrd="5"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C735FF4-C854-4C2C-BA92-4F4A5E95A327}"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de-AT"/>
        </a:p>
      </dgm:t>
    </dgm:pt>
    <dgm:pt modelId="{47E688A9-43B5-45EF-858A-D2BC27131684}">
      <dgm:prSet phldrT="[Text]"/>
      <dgm:spPr>
        <a:solidFill>
          <a:srgbClr val="FFFF00"/>
        </a:solidFill>
      </dgm:spPr>
      <dgm:t>
        <a:bodyPr/>
        <a:lstStyle/>
        <a:p>
          <a:r>
            <a:rPr lang="en-US" b="1" dirty="0">
              <a:solidFill>
                <a:srgbClr val="002060"/>
              </a:solidFill>
            </a:rPr>
            <a:t>Responsibility (Qualification)</a:t>
          </a:r>
          <a:endParaRPr lang="de-AT" b="1" dirty="0">
            <a:solidFill>
              <a:srgbClr val="002060"/>
            </a:solidFill>
          </a:endParaRPr>
        </a:p>
      </dgm:t>
    </dgm:pt>
    <dgm:pt modelId="{B0F21881-C561-46D6-AA5F-14576903BB0D}" type="parTrans" cxnId="{85ECCADB-2A8E-4851-BE43-7B8D53AAEBF8}">
      <dgm:prSet/>
      <dgm:spPr/>
      <dgm:t>
        <a:bodyPr/>
        <a:lstStyle/>
        <a:p>
          <a:endParaRPr lang="de-AT"/>
        </a:p>
      </dgm:t>
    </dgm:pt>
    <dgm:pt modelId="{3FBA5272-2059-4E93-A815-8EC10A05C139}" type="sibTrans" cxnId="{85ECCADB-2A8E-4851-BE43-7B8D53AAEBF8}">
      <dgm:prSet/>
      <dgm:spPr/>
      <dgm:t>
        <a:bodyPr/>
        <a:lstStyle/>
        <a:p>
          <a:endParaRPr lang="de-AT"/>
        </a:p>
      </dgm:t>
    </dgm:pt>
    <dgm:pt modelId="{6116DFC6-728B-45F0-A7F0-53865BB6A2E3}">
      <dgm:prSet phldrT="[Text]"/>
      <dgm:spPr>
        <a:solidFill>
          <a:srgbClr val="FF0000"/>
        </a:solidFill>
      </dgm:spPr>
      <dgm:t>
        <a:bodyPr/>
        <a:lstStyle/>
        <a:p>
          <a:r>
            <a:rPr lang="en-US" b="1" dirty="0">
              <a:solidFill>
                <a:schemeClr val="bg1"/>
              </a:solidFill>
            </a:rPr>
            <a:t>Discretionary Debarment – U.S. Federal</a:t>
          </a:r>
          <a:endParaRPr lang="de-AT" b="1" dirty="0">
            <a:solidFill>
              <a:schemeClr val="bg1"/>
            </a:solidFill>
          </a:endParaRPr>
        </a:p>
      </dgm:t>
    </dgm:pt>
    <dgm:pt modelId="{0DBD5268-E7D0-4A1A-8DFE-58996E07B5C0}" type="parTrans" cxnId="{A795F513-537D-44CC-9016-8826A5D08461}">
      <dgm:prSet/>
      <dgm:spPr/>
      <dgm:t>
        <a:bodyPr/>
        <a:lstStyle/>
        <a:p>
          <a:endParaRPr lang="de-AT"/>
        </a:p>
      </dgm:t>
    </dgm:pt>
    <dgm:pt modelId="{C5A6E8B8-9A82-44D7-BD3D-276FA2A49AB5}" type="sibTrans" cxnId="{A795F513-537D-44CC-9016-8826A5D08461}">
      <dgm:prSet/>
      <dgm:spPr/>
      <dgm:t>
        <a:bodyPr/>
        <a:lstStyle/>
        <a:p>
          <a:endParaRPr lang="de-AT"/>
        </a:p>
      </dgm:t>
    </dgm:pt>
    <dgm:pt modelId="{C772B16C-C30C-49EC-93A3-9A37F4DCA4C0}">
      <dgm:prSet phldrT="[Text]"/>
      <dgm:spPr>
        <a:solidFill>
          <a:srgbClr val="FF0000"/>
        </a:solidFill>
      </dgm:spPr>
      <dgm:t>
        <a:bodyPr/>
        <a:lstStyle/>
        <a:p>
          <a:r>
            <a:rPr lang="en-US" b="1" dirty="0">
              <a:solidFill>
                <a:schemeClr val="bg1"/>
              </a:solidFill>
            </a:rPr>
            <a:t>Based on “present responsibility”:  focus on present status</a:t>
          </a:r>
          <a:endParaRPr lang="de-AT" b="1" dirty="0">
            <a:solidFill>
              <a:schemeClr val="bg1"/>
            </a:solidFill>
          </a:endParaRPr>
        </a:p>
      </dgm:t>
    </dgm:pt>
    <dgm:pt modelId="{02723AA2-252A-4575-8706-23F4A11CB71B}" type="parTrans" cxnId="{7BF0D04C-A84D-4FD3-91FA-68E2166B9E50}">
      <dgm:prSet/>
      <dgm:spPr/>
      <dgm:t>
        <a:bodyPr/>
        <a:lstStyle/>
        <a:p>
          <a:endParaRPr lang="de-AT"/>
        </a:p>
      </dgm:t>
    </dgm:pt>
    <dgm:pt modelId="{096B18FB-DFF9-4750-ACA2-0B750B7EC178}" type="sibTrans" cxnId="{7BF0D04C-A84D-4FD3-91FA-68E2166B9E50}">
      <dgm:prSet/>
      <dgm:spPr/>
      <dgm:t>
        <a:bodyPr/>
        <a:lstStyle/>
        <a:p>
          <a:endParaRPr lang="de-AT"/>
        </a:p>
      </dgm:t>
    </dgm:pt>
    <dgm:pt modelId="{A63C4609-7597-442F-81F1-31C6BEF1DBE7}">
      <dgm:prSet phldrT="[Text]"/>
      <dgm:spPr>
        <a:solidFill>
          <a:srgbClr val="002060"/>
        </a:solidFill>
      </dgm:spPr>
      <dgm:t>
        <a:bodyPr/>
        <a:lstStyle/>
        <a:p>
          <a:r>
            <a:rPr lang="en-US" b="1" dirty="0"/>
            <a:t>Adjudicative Debarment for “Bad Acts”</a:t>
          </a:r>
          <a:r>
            <a:rPr lang="en-US" b="1" dirty="0">
              <a:solidFill>
                <a:schemeClr val="bg1">
                  <a:lumMod val="50000"/>
                </a:schemeClr>
              </a:solidFill>
            </a:rPr>
            <a:t>”</a:t>
          </a:r>
          <a:endParaRPr lang="de-AT" b="1" dirty="0"/>
        </a:p>
      </dgm:t>
    </dgm:pt>
    <dgm:pt modelId="{53510E37-90C2-4CB7-B355-A223BA21D7DD}" type="parTrans" cxnId="{1C8B251A-4D24-4A41-B2E6-0306A59A684B}">
      <dgm:prSet/>
      <dgm:spPr/>
      <dgm:t>
        <a:bodyPr/>
        <a:lstStyle/>
        <a:p>
          <a:endParaRPr lang="de-AT"/>
        </a:p>
      </dgm:t>
    </dgm:pt>
    <dgm:pt modelId="{6895E40A-C860-4746-A42F-CEEB7BB1AB49}" type="sibTrans" cxnId="{1C8B251A-4D24-4A41-B2E6-0306A59A684B}">
      <dgm:prSet/>
      <dgm:spPr/>
      <dgm:t>
        <a:bodyPr/>
        <a:lstStyle/>
        <a:p>
          <a:endParaRPr lang="de-AT"/>
        </a:p>
      </dgm:t>
    </dgm:pt>
    <dgm:pt modelId="{B31E3C5E-7932-4CB7-BA84-236C302D201A}">
      <dgm:prSet phldrT="[Text]"/>
      <dgm:spPr>
        <a:solidFill>
          <a:srgbClr val="002060"/>
        </a:solidFill>
      </dgm:spPr>
      <dgm:t>
        <a:bodyPr/>
        <a:lstStyle/>
        <a:p>
          <a:r>
            <a:rPr lang="en-US" b="1" dirty="0"/>
            <a:t>E.g., World Bank</a:t>
          </a:r>
          <a:endParaRPr lang="de-AT" b="1" dirty="0"/>
        </a:p>
      </dgm:t>
    </dgm:pt>
    <dgm:pt modelId="{3967556C-AAB7-4E1C-9EDB-D0CD8AFF6C5A}" type="parTrans" cxnId="{128F57AB-897D-457B-A4AE-DBB146CFB32E}">
      <dgm:prSet/>
      <dgm:spPr/>
      <dgm:t>
        <a:bodyPr/>
        <a:lstStyle/>
        <a:p>
          <a:endParaRPr lang="de-AT"/>
        </a:p>
      </dgm:t>
    </dgm:pt>
    <dgm:pt modelId="{C32679EB-DE57-4F42-8EEE-D310302038CB}" type="sibTrans" cxnId="{128F57AB-897D-457B-A4AE-DBB146CFB32E}">
      <dgm:prSet/>
      <dgm:spPr/>
      <dgm:t>
        <a:bodyPr/>
        <a:lstStyle/>
        <a:p>
          <a:endParaRPr lang="de-AT"/>
        </a:p>
      </dgm:t>
    </dgm:pt>
    <dgm:pt modelId="{1A604565-D9C3-426B-82B4-E6FF11E3DC73}">
      <dgm:prSet phldrT="[Text]"/>
      <dgm:spPr>
        <a:solidFill>
          <a:srgbClr val="FFFF00"/>
        </a:solidFill>
      </dgm:spPr>
      <dgm:t>
        <a:bodyPr/>
        <a:lstStyle/>
        <a:p>
          <a:r>
            <a:rPr lang="en-US" b="1" dirty="0">
              <a:solidFill>
                <a:srgbClr val="002060"/>
              </a:solidFill>
            </a:rPr>
            <a:t>On a case-by-case basis</a:t>
          </a:r>
          <a:endParaRPr lang="de-AT" b="1" dirty="0">
            <a:solidFill>
              <a:srgbClr val="002060"/>
            </a:solidFill>
          </a:endParaRPr>
        </a:p>
      </dgm:t>
    </dgm:pt>
    <dgm:pt modelId="{3C23A5E1-2EA5-46A7-8217-733F04BC7AC4}" type="sibTrans" cxnId="{326803E6-E8B1-46D9-B6B0-F5E7EC72293F}">
      <dgm:prSet/>
      <dgm:spPr/>
      <dgm:t>
        <a:bodyPr/>
        <a:lstStyle/>
        <a:p>
          <a:endParaRPr lang="de-AT"/>
        </a:p>
      </dgm:t>
    </dgm:pt>
    <dgm:pt modelId="{C96F1B2E-A743-4BBE-A7BC-F4DADE66E0D9}" type="parTrans" cxnId="{326803E6-E8B1-46D9-B6B0-F5E7EC72293F}">
      <dgm:prSet/>
      <dgm:spPr/>
      <dgm:t>
        <a:bodyPr/>
        <a:lstStyle/>
        <a:p>
          <a:endParaRPr lang="de-AT"/>
        </a:p>
      </dgm:t>
    </dgm:pt>
    <dgm:pt modelId="{44788E4D-F566-4AD8-8984-5EBA4CF9B1ED}">
      <dgm:prSet phldrT="[Text]"/>
      <dgm:spPr>
        <a:solidFill>
          <a:srgbClr val="006600"/>
        </a:solidFill>
      </dgm:spPr>
      <dgm:t>
        <a:bodyPr/>
        <a:lstStyle/>
        <a:p>
          <a:r>
            <a:rPr lang="en-US" b="1" dirty="0">
              <a:solidFill>
                <a:schemeClr val="bg1"/>
              </a:solidFill>
            </a:rPr>
            <a:t>Court-Ordered Debarment, After Judicial Proceedings</a:t>
          </a:r>
          <a:endParaRPr lang="de-AT" dirty="0">
            <a:solidFill>
              <a:schemeClr val="bg1"/>
            </a:solidFill>
          </a:endParaRPr>
        </a:p>
      </dgm:t>
    </dgm:pt>
    <dgm:pt modelId="{DC4BC11B-BF7A-48B6-95E5-9746D5B835F1}" type="parTrans" cxnId="{2A8956C6-7F1D-4258-90DC-8014311D0960}">
      <dgm:prSet/>
      <dgm:spPr/>
      <dgm:t>
        <a:bodyPr/>
        <a:lstStyle/>
        <a:p>
          <a:endParaRPr lang="de-AT"/>
        </a:p>
      </dgm:t>
    </dgm:pt>
    <dgm:pt modelId="{21BE7BF9-5321-4139-829B-3F5410682B34}" type="sibTrans" cxnId="{2A8956C6-7F1D-4258-90DC-8014311D0960}">
      <dgm:prSet/>
      <dgm:spPr/>
      <dgm:t>
        <a:bodyPr/>
        <a:lstStyle/>
        <a:p>
          <a:endParaRPr lang="de-AT"/>
        </a:p>
      </dgm:t>
    </dgm:pt>
    <dgm:pt modelId="{63699ED9-6768-4F2D-A98F-B53D8732C07A}">
      <dgm:prSet/>
      <dgm:spPr>
        <a:solidFill>
          <a:srgbClr val="FFFF00"/>
        </a:solidFill>
      </dgm:spPr>
      <dgm:t>
        <a:bodyPr/>
        <a:lstStyle/>
        <a:p>
          <a:r>
            <a:rPr lang="en-US" b="1" dirty="0">
              <a:solidFill>
                <a:srgbClr val="002060"/>
              </a:solidFill>
            </a:rPr>
            <a:t>In U.S. – done by contracting officer</a:t>
          </a:r>
        </a:p>
      </dgm:t>
    </dgm:pt>
    <dgm:pt modelId="{8794FB22-AD22-4A24-BDBF-7BE1CD6DB772}" type="parTrans" cxnId="{19A56182-9016-4FAA-A44B-041F74C45AEC}">
      <dgm:prSet/>
      <dgm:spPr/>
      <dgm:t>
        <a:bodyPr/>
        <a:lstStyle/>
        <a:p>
          <a:endParaRPr lang="de-AT"/>
        </a:p>
      </dgm:t>
    </dgm:pt>
    <dgm:pt modelId="{09ADD97F-33B7-4FEB-9147-4E1001F1970E}" type="sibTrans" cxnId="{19A56182-9016-4FAA-A44B-041F74C45AEC}">
      <dgm:prSet/>
      <dgm:spPr/>
      <dgm:t>
        <a:bodyPr/>
        <a:lstStyle/>
        <a:p>
          <a:endParaRPr lang="de-AT"/>
        </a:p>
      </dgm:t>
    </dgm:pt>
    <dgm:pt modelId="{6EE3689E-068F-49BD-A030-AD42211A9D05}">
      <dgm:prSet/>
      <dgm:spPr>
        <a:solidFill>
          <a:srgbClr val="FFFF00"/>
        </a:solidFill>
      </dgm:spPr>
      <dgm:t>
        <a:bodyPr/>
        <a:lstStyle/>
        <a:p>
          <a:r>
            <a:rPr lang="en-US" b="1" dirty="0">
              <a:solidFill>
                <a:srgbClr val="002060"/>
              </a:solidFill>
            </a:rPr>
            <a:t>Allowed by new EU Directives, 2014/24/EU Art. 57</a:t>
          </a:r>
        </a:p>
      </dgm:t>
    </dgm:pt>
    <dgm:pt modelId="{671A270C-4D0C-4874-B842-604E116282DE}" type="parTrans" cxnId="{42586653-B117-4D06-82AD-5EA4B0715C43}">
      <dgm:prSet/>
      <dgm:spPr/>
      <dgm:t>
        <a:bodyPr/>
        <a:lstStyle/>
        <a:p>
          <a:endParaRPr lang="de-AT"/>
        </a:p>
      </dgm:t>
    </dgm:pt>
    <dgm:pt modelId="{0415C0C8-7BDD-4830-97F0-EE0B6B91E514}" type="sibTrans" cxnId="{42586653-B117-4D06-82AD-5EA4B0715C43}">
      <dgm:prSet/>
      <dgm:spPr/>
      <dgm:t>
        <a:bodyPr/>
        <a:lstStyle/>
        <a:p>
          <a:endParaRPr lang="de-AT"/>
        </a:p>
      </dgm:t>
    </dgm:pt>
    <dgm:pt modelId="{0960C4BE-A1EC-42DE-92EF-E93B5FCF61E4}">
      <dgm:prSet/>
      <dgm:spPr>
        <a:solidFill>
          <a:srgbClr val="FF0000"/>
        </a:solidFill>
      </dgm:spPr>
      <dgm:t>
        <a:bodyPr/>
        <a:lstStyle/>
        <a:p>
          <a:r>
            <a:rPr lang="en-US" b="1" dirty="0">
              <a:solidFill>
                <a:schemeClr val="bg1"/>
              </a:solidFill>
            </a:rPr>
            <a:t>Debarment is a cross-government determination</a:t>
          </a:r>
          <a:r>
            <a:rPr lang="en-US" b="1" dirty="0">
              <a:solidFill>
                <a:schemeClr val="tx1"/>
              </a:solidFill>
            </a:rPr>
            <a:t> </a:t>
          </a:r>
        </a:p>
      </dgm:t>
    </dgm:pt>
    <dgm:pt modelId="{B9EECDF9-E83F-4E79-9520-994919938DB0}" type="parTrans" cxnId="{216FB433-B955-41FD-9625-94BC85FE1DE9}">
      <dgm:prSet/>
      <dgm:spPr/>
      <dgm:t>
        <a:bodyPr/>
        <a:lstStyle/>
        <a:p>
          <a:endParaRPr lang="de-AT"/>
        </a:p>
      </dgm:t>
    </dgm:pt>
    <dgm:pt modelId="{FE2E7F3B-EB96-4A63-9607-8E6B36A10896}" type="sibTrans" cxnId="{216FB433-B955-41FD-9625-94BC85FE1DE9}">
      <dgm:prSet/>
      <dgm:spPr/>
      <dgm:t>
        <a:bodyPr/>
        <a:lstStyle/>
        <a:p>
          <a:endParaRPr lang="de-AT"/>
        </a:p>
      </dgm:t>
    </dgm:pt>
    <dgm:pt modelId="{72D6599A-36A2-4348-87A4-C6418D46F8AD}" type="pres">
      <dgm:prSet presAssocID="{DC735FF4-C854-4C2C-BA92-4F4A5E95A327}" presName="Name0" presStyleCnt="0">
        <dgm:presLayoutVars>
          <dgm:dir/>
          <dgm:resizeHandles val="exact"/>
        </dgm:presLayoutVars>
      </dgm:prSet>
      <dgm:spPr/>
    </dgm:pt>
    <dgm:pt modelId="{87A9DF71-2A83-4D51-8093-BD8FA5185F8A}" type="pres">
      <dgm:prSet presAssocID="{47E688A9-43B5-45EF-858A-D2BC27131684}" presName="node" presStyleLbl="node1" presStyleIdx="0" presStyleCnt="4" custLinFactNeighborX="-1359" custLinFactNeighborY="-6534">
        <dgm:presLayoutVars>
          <dgm:bulletEnabled val="1"/>
        </dgm:presLayoutVars>
      </dgm:prSet>
      <dgm:spPr/>
    </dgm:pt>
    <dgm:pt modelId="{4F666C2E-54BB-4D72-A279-679FDF13F175}" type="pres">
      <dgm:prSet presAssocID="{3FBA5272-2059-4E93-A815-8EC10A05C139}" presName="sibTrans" presStyleCnt="0"/>
      <dgm:spPr/>
    </dgm:pt>
    <dgm:pt modelId="{A439761D-2347-453B-8972-8712BB3BC23A}" type="pres">
      <dgm:prSet presAssocID="{6116DFC6-728B-45F0-A7F0-53865BB6A2E3}" presName="node" presStyleLbl="node1" presStyleIdx="1" presStyleCnt="4">
        <dgm:presLayoutVars>
          <dgm:bulletEnabled val="1"/>
        </dgm:presLayoutVars>
      </dgm:prSet>
      <dgm:spPr/>
    </dgm:pt>
    <dgm:pt modelId="{48F0C1DE-CEB7-4EEA-BD45-D3120A9F1943}" type="pres">
      <dgm:prSet presAssocID="{C5A6E8B8-9A82-44D7-BD3D-276FA2A49AB5}" presName="sibTrans" presStyleCnt="0"/>
      <dgm:spPr/>
    </dgm:pt>
    <dgm:pt modelId="{6F2556ED-9B3F-4998-8908-52E19B6D9D2B}" type="pres">
      <dgm:prSet presAssocID="{A63C4609-7597-442F-81F1-31C6BEF1DBE7}" presName="node" presStyleLbl="node1" presStyleIdx="2" presStyleCnt="4">
        <dgm:presLayoutVars>
          <dgm:bulletEnabled val="1"/>
        </dgm:presLayoutVars>
      </dgm:prSet>
      <dgm:spPr/>
    </dgm:pt>
    <dgm:pt modelId="{99EF99EC-4632-4F5E-846E-028F6BA76171}" type="pres">
      <dgm:prSet presAssocID="{6895E40A-C860-4746-A42F-CEEB7BB1AB49}" presName="sibTrans" presStyleCnt="0"/>
      <dgm:spPr/>
    </dgm:pt>
    <dgm:pt modelId="{0EE74FE0-765F-4A40-97BB-070899B50E63}" type="pres">
      <dgm:prSet presAssocID="{44788E4D-F566-4AD8-8984-5EBA4CF9B1ED}" presName="node" presStyleLbl="node1" presStyleIdx="3" presStyleCnt="4">
        <dgm:presLayoutVars>
          <dgm:bulletEnabled val="1"/>
        </dgm:presLayoutVars>
      </dgm:prSet>
      <dgm:spPr/>
    </dgm:pt>
  </dgm:ptLst>
  <dgm:cxnLst>
    <dgm:cxn modelId="{A795F513-537D-44CC-9016-8826A5D08461}" srcId="{DC735FF4-C854-4C2C-BA92-4F4A5E95A327}" destId="{6116DFC6-728B-45F0-A7F0-53865BB6A2E3}" srcOrd="1" destOrd="0" parTransId="{0DBD5268-E7D0-4A1A-8DFE-58996E07B5C0}" sibTransId="{C5A6E8B8-9A82-44D7-BD3D-276FA2A49AB5}"/>
    <dgm:cxn modelId="{1C8B251A-4D24-4A41-B2E6-0306A59A684B}" srcId="{DC735FF4-C854-4C2C-BA92-4F4A5E95A327}" destId="{A63C4609-7597-442F-81F1-31C6BEF1DBE7}" srcOrd="2" destOrd="0" parTransId="{53510E37-90C2-4CB7-B355-A223BA21D7DD}" sibTransId="{6895E40A-C860-4746-A42F-CEEB7BB1AB49}"/>
    <dgm:cxn modelId="{9E78251B-C704-4F4F-AE33-E1E05F6E0A16}" type="presOf" srcId="{6EE3689E-068F-49BD-A030-AD42211A9D05}" destId="{87A9DF71-2A83-4D51-8093-BD8FA5185F8A}" srcOrd="0" destOrd="3" presId="urn:microsoft.com/office/officeart/2005/8/layout/hList6"/>
    <dgm:cxn modelId="{216FB433-B955-41FD-9625-94BC85FE1DE9}" srcId="{6116DFC6-728B-45F0-A7F0-53865BB6A2E3}" destId="{0960C4BE-A1EC-42DE-92EF-E93B5FCF61E4}" srcOrd="1" destOrd="0" parTransId="{B9EECDF9-E83F-4E79-9520-994919938DB0}" sibTransId="{FE2E7F3B-EB96-4A63-9607-8E6B36A10896}"/>
    <dgm:cxn modelId="{F9111C48-3EDF-4408-9411-1931D5B29A1B}" type="presOf" srcId="{A63C4609-7597-442F-81F1-31C6BEF1DBE7}" destId="{6F2556ED-9B3F-4998-8908-52E19B6D9D2B}" srcOrd="0" destOrd="0" presId="urn:microsoft.com/office/officeart/2005/8/layout/hList6"/>
    <dgm:cxn modelId="{7BF0D04C-A84D-4FD3-91FA-68E2166B9E50}" srcId="{6116DFC6-728B-45F0-A7F0-53865BB6A2E3}" destId="{C772B16C-C30C-49EC-93A3-9A37F4DCA4C0}" srcOrd="0" destOrd="0" parTransId="{02723AA2-252A-4575-8706-23F4A11CB71B}" sibTransId="{096B18FB-DFF9-4750-ACA2-0B750B7EC178}"/>
    <dgm:cxn modelId="{E3F43E52-5ACB-446D-982D-B7D1B99F7B65}" type="presOf" srcId="{B31E3C5E-7932-4CB7-BA84-236C302D201A}" destId="{6F2556ED-9B3F-4998-8908-52E19B6D9D2B}" srcOrd="0" destOrd="1" presId="urn:microsoft.com/office/officeart/2005/8/layout/hList6"/>
    <dgm:cxn modelId="{42586653-B117-4D06-82AD-5EA4B0715C43}" srcId="{47E688A9-43B5-45EF-858A-D2BC27131684}" destId="{6EE3689E-068F-49BD-A030-AD42211A9D05}" srcOrd="2" destOrd="0" parTransId="{671A270C-4D0C-4874-B842-604E116282DE}" sibTransId="{0415C0C8-7BDD-4830-97F0-EE0B6B91E514}"/>
    <dgm:cxn modelId="{4E8A9A73-CE51-46DA-9D47-FEC9C735FA51}" type="presOf" srcId="{1A604565-D9C3-426B-82B4-E6FF11E3DC73}" destId="{87A9DF71-2A83-4D51-8093-BD8FA5185F8A}" srcOrd="0" destOrd="1" presId="urn:microsoft.com/office/officeart/2005/8/layout/hList6"/>
    <dgm:cxn modelId="{24BB2A58-A29B-499C-B2A4-8D77243D33B7}" type="presOf" srcId="{47E688A9-43B5-45EF-858A-D2BC27131684}" destId="{87A9DF71-2A83-4D51-8093-BD8FA5185F8A}" srcOrd="0" destOrd="0" presId="urn:microsoft.com/office/officeart/2005/8/layout/hList6"/>
    <dgm:cxn modelId="{D456E079-7F51-46AC-8701-9916C5676038}" type="presOf" srcId="{44788E4D-F566-4AD8-8984-5EBA4CF9B1ED}" destId="{0EE74FE0-765F-4A40-97BB-070899B50E63}" srcOrd="0" destOrd="0" presId="urn:microsoft.com/office/officeart/2005/8/layout/hList6"/>
    <dgm:cxn modelId="{6CC01680-8DF2-4002-A19A-FD38C28C589C}" type="presOf" srcId="{C772B16C-C30C-49EC-93A3-9A37F4DCA4C0}" destId="{A439761D-2347-453B-8972-8712BB3BC23A}" srcOrd="0" destOrd="1" presId="urn:microsoft.com/office/officeart/2005/8/layout/hList6"/>
    <dgm:cxn modelId="{19A56182-9016-4FAA-A44B-041F74C45AEC}" srcId="{47E688A9-43B5-45EF-858A-D2BC27131684}" destId="{63699ED9-6768-4F2D-A98F-B53D8732C07A}" srcOrd="1" destOrd="0" parTransId="{8794FB22-AD22-4A24-BDBF-7BE1CD6DB772}" sibTransId="{09ADD97F-33B7-4FEB-9147-4E1001F1970E}"/>
    <dgm:cxn modelId="{AD2B5285-5217-4030-A10A-1760CEF3D3CE}" type="presOf" srcId="{63699ED9-6768-4F2D-A98F-B53D8732C07A}" destId="{87A9DF71-2A83-4D51-8093-BD8FA5185F8A}" srcOrd="0" destOrd="2" presId="urn:microsoft.com/office/officeart/2005/8/layout/hList6"/>
    <dgm:cxn modelId="{128F57AB-897D-457B-A4AE-DBB146CFB32E}" srcId="{A63C4609-7597-442F-81F1-31C6BEF1DBE7}" destId="{B31E3C5E-7932-4CB7-BA84-236C302D201A}" srcOrd="0" destOrd="0" parTransId="{3967556C-AAB7-4E1C-9EDB-D0CD8AFF6C5A}" sibTransId="{C32679EB-DE57-4F42-8EEE-D310302038CB}"/>
    <dgm:cxn modelId="{4EEE22C6-E0C3-4778-AFCD-030E360FC86A}" type="presOf" srcId="{0960C4BE-A1EC-42DE-92EF-E93B5FCF61E4}" destId="{A439761D-2347-453B-8972-8712BB3BC23A}" srcOrd="0" destOrd="2" presId="urn:microsoft.com/office/officeart/2005/8/layout/hList6"/>
    <dgm:cxn modelId="{2A8956C6-7F1D-4258-90DC-8014311D0960}" srcId="{DC735FF4-C854-4C2C-BA92-4F4A5E95A327}" destId="{44788E4D-F566-4AD8-8984-5EBA4CF9B1ED}" srcOrd="3" destOrd="0" parTransId="{DC4BC11B-BF7A-48B6-95E5-9746D5B835F1}" sibTransId="{21BE7BF9-5321-4139-829B-3F5410682B34}"/>
    <dgm:cxn modelId="{85ECCADB-2A8E-4851-BE43-7B8D53AAEBF8}" srcId="{DC735FF4-C854-4C2C-BA92-4F4A5E95A327}" destId="{47E688A9-43B5-45EF-858A-D2BC27131684}" srcOrd="0" destOrd="0" parTransId="{B0F21881-C561-46D6-AA5F-14576903BB0D}" sibTransId="{3FBA5272-2059-4E93-A815-8EC10A05C139}"/>
    <dgm:cxn modelId="{EAA609DE-8EAD-469C-8B89-782C087EE823}" type="presOf" srcId="{6116DFC6-728B-45F0-A7F0-53865BB6A2E3}" destId="{A439761D-2347-453B-8972-8712BB3BC23A}" srcOrd="0" destOrd="0" presId="urn:microsoft.com/office/officeart/2005/8/layout/hList6"/>
    <dgm:cxn modelId="{326803E6-E8B1-46D9-B6B0-F5E7EC72293F}" srcId="{47E688A9-43B5-45EF-858A-D2BC27131684}" destId="{1A604565-D9C3-426B-82B4-E6FF11E3DC73}" srcOrd="0" destOrd="0" parTransId="{C96F1B2E-A743-4BBE-A7BC-F4DADE66E0D9}" sibTransId="{3C23A5E1-2EA5-46A7-8217-733F04BC7AC4}"/>
    <dgm:cxn modelId="{38AADBEB-C4A2-40B0-A428-52BFCD8CE869}" type="presOf" srcId="{DC735FF4-C854-4C2C-BA92-4F4A5E95A327}" destId="{72D6599A-36A2-4348-87A4-C6418D46F8AD}" srcOrd="0" destOrd="0" presId="urn:microsoft.com/office/officeart/2005/8/layout/hList6"/>
    <dgm:cxn modelId="{1ABC607F-352F-42CF-8B20-4B34E9844F84}" type="presParOf" srcId="{72D6599A-36A2-4348-87A4-C6418D46F8AD}" destId="{87A9DF71-2A83-4D51-8093-BD8FA5185F8A}" srcOrd="0" destOrd="0" presId="urn:microsoft.com/office/officeart/2005/8/layout/hList6"/>
    <dgm:cxn modelId="{9A87BEEF-AA55-400C-B0B5-33097FCC599C}" type="presParOf" srcId="{72D6599A-36A2-4348-87A4-C6418D46F8AD}" destId="{4F666C2E-54BB-4D72-A279-679FDF13F175}" srcOrd="1" destOrd="0" presId="urn:microsoft.com/office/officeart/2005/8/layout/hList6"/>
    <dgm:cxn modelId="{C12A21F1-3522-4472-9999-EDA08C85EA36}" type="presParOf" srcId="{72D6599A-36A2-4348-87A4-C6418D46F8AD}" destId="{A439761D-2347-453B-8972-8712BB3BC23A}" srcOrd="2" destOrd="0" presId="urn:microsoft.com/office/officeart/2005/8/layout/hList6"/>
    <dgm:cxn modelId="{8AA1AF70-AB9E-41D5-9637-5B128C159582}" type="presParOf" srcId="{72D6599A-36A2-4348-87A4-C6418D46F8AD}" destId="{48F0C1DE-CEB7-4EEA-BD45-D3120A9F1943}" srcOrd="3" destOrd="0" presId="urn:microsoft.com/office/officeart/2005/8/layout/hList6"/>
    <dgm:cxn modelId="{44524381-7D96-4D6B-AC1D-827045A5A43F}" type="presParOf" srcId="{72D6599A-36A2-4348-87A4-C6418D46F8AD}" destId="{6F2556ED-9B3F-4998-8908-52E19B6D9D2B}" srcOrd="4" destOrd="0" presId="urn:microsoft.com/office/officeart/2005/8/layout/hList6"/>
    <dgm:cxn modelId="{68D6789B-7798-46DB-8ED7-20CF9E18E412}" type="presParOf" srcId="{72D6599A-36A2-4348-87A4-C6418D46F8AD}" destId="{99EF99EC-4632-4F5E-846E-028F6BA76171}" srcOrd="5" destOrd="0" presId="urn:microsoft.com/office/officeart/2005/8/layout/hList6"/>
    <dgm:cxn modelId="{82259EE9-D311-4597-96DB-42AFD2E98AAD}" type="presParOf" srcId="{72D6599A-36A2-4348-87A4-C6418D46F8AD}" destId="{0EE74FE0-765F-4A40-97BB-070899B50E63}" srcOrd="6" destOrd="0" presId="urn:microsoft.com/office/officeart/2005/8/layout/hList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2767" y="1158163"/>
          <a:ext cx="2698590" cy="1067771"/>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t>Current Georgia Law</a:t>
          </a:r>
        </a:p>
      </dsp:txBody>
      <dsp:txXfrm>
        <a:off x="2767" y="1158163"/>
        <a:ext cx="2698590" cy="1067771"/>
      </dsp:txXfrm>
    </dsp:sp>
    <dsp:sp modelId="{BD1D2419-3FBE-4CDD-B9F0-2791A66260DC}">
      <dsp:nvSpPr>
        <dsp:cNvPr id="0" name=""/>
        <dsp:cNvSpPr/>
      </dsp:nvSpPr>
      <dsp:spPr>
        <a:xfrm>
          <a:off x="2767" y="2225935"/>
          <a:ext cx="2698590" cy="3318705"/>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a:lnSpc>
              <a:spcPct val="90000"/>
            </a:lnSpc>
            <a:spcBef>
              <a:spcPct val="0"/>
            </a:spcBef>
            <a:spcAft>
              <a:spcPct val="15000"/>
            </a:spcAft>
            <a:buChar char="•"/>
          </a:pPr>
          <a:r>
            <a:rPr lang="en-US" sz="3100" kern="1200" dirty="0"/>
            <a:t>3-person tender committee on electronic tenders (Art. 11) </a:t>
          </a:r>
        </a:p>
      </dsp:txBody>
      <dsp:txXfrm>
        <a:off x="2767" y="2225935"/>
        <a:ext cx="2698590" cy="3318705"/>
      </dsp:txXfrm>
    </dsp:sp>
    <dsp:sp modelId="{8E6D5C47-3AC7-4A32-A37A-EB161483C401}">
      <dsp:nvSpPr>
        <dsp:cNvPr id="0" name=""/>
        <dsp:cNvSpPr/>
      </dsp:nvSpPr>
      <dsp:spPr>
        <a:xfrm>
          <a:off x="3079160" y="1158163"/>
          <a:ext cx="2698590" cy="1067771"/>
        </a:xfrm>
        <a:prstGeom prst="rect">
          <a:avLst/>
        </a:prstGeom>
        <a:solidFill>
          <a:schemeClr val="accent4">
            <a:hueOff val="5571487"/>
            <a:satOff val="19812"/>
            <a:lumOff val="44804"/>
            <a:alphaOff val="0"/>
          </a:schemeClr>
        </a:solidFill>
        <a:ln w="25400" cap="flat" cmpd="sng" algn="ctr">
          <a:solidFill>
            <a:schemeClr val="accent4">
              <a:hueOff val="5571487"/>
              <a:satOff val="19812"/>
              <a:lumOff val="4480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t>Draft Georgia Law</a:t>
          </a:r>
        </a:p>
      </dsp:txBody>
      <dsp:txXfrm>
        <a:off x="3079160" y="1158163"/>
        <a:ext cx="2698590" cy="1067771"/>
      </dsp:txXfrm>
    </dsp:sp>
    <dsp:sp modelId="{AE4847B9-13D2-4C12-A199-E437ADF0E1F4}">
      <dsp:nvSpPr>
        <dsp:cNvPr id="0" name=""/>
        <dsp:cNvSpPr/>
      </dsp:nvSpPr>
      <dsp:spPr>
        <a:xfrm>
          <a:off x="3079160" y="2225935"/>
          <a:ext cx="2698590" cy="3318705"/>
        </a:xfrm>
        <a:prstGeom prst="rect">
          <a:avLst/>
        </a:prstGeom>
        <a:solidFill>
          <a:schemeClr val="accent4">
            <a:tint val="40000"/>
            <a:alpha val="90000"/>
            <a:hueOff val="5577458"/>
            <a:satOff val="19029"/>
            <a:lumOff val="8139"/>
            <a:alphaOff val="0"/>
          </a:schemeClr>
        </a:solidFill>
        <a:ln w="25400" cap="flat" cmpd="sng" algn="ctr">
          <a:solidFill>
            <a:schemeClr val="accent4">
              <a:tint val="40000"/>
              <a:alpha val="90000"/>
              <a:hueOff val="5577458"/>
              <a:satOff val="19029"/>
              <a:lumOff val="81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354" tIns="165354" rIns="220472" bIns="248031" numCol="1" spcCol="1270" anchor="t" anchorCtr="0">
          <a:noAutofit/>
        </a:bodyPr>
        <a:lstStyle/>
        <a:p>
          <a:pPr marL="285750" lvl="1" indent="-285750" algn="l" defTabSz="1377950">
            <a:lnSpc>
              <a:spcPct val="90000"/>
            </a:lnSpc>
            <a:spcBef>
              <a:spcPct val="0"/>
            </a:spcBef>
            <a:spcAft>
              <a:spcPct val="15000"/>
            </a:spcAft>
            <a:buChar char="•"/>
          </a:pPr>
          <a:r>
            <a:rPr lang="en-US" sz="3100" kern="1200" dirty="0"/>
            <a:t>Addresses personal conflicts of interest of board members</a:t>
          </a:r>
        </a:p>
      </dsp:txBody>
      <dsp:txXfrm>
        <a:off x="3079160" y="2225935"/>
        <a:ext cx="2698590" cy="3318705"/>
      </dsp:txXfrm>
    </dsp:sp>
    <dsp:sp modelId="{C3750E5D-B8B6-4E37-85C4-FF8FA966C67E}">
      <dsp:nvSpPr>
        <dsp:cNvPr id="0" name=""/>
        <dsp:cNvSpPr/>
      </dsp:nvSpPr>
      <dsp:spPr>
        <a:xfrm>
          <a:off x="6155553" y="1158163"/>
          <a:ext cx="2698590" cy="1067771"/>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0472" tIns="125984" rIns="220472" bIns="125984" numCol="1" spcCol="1270" anchor="ctr" anchorCtr="0">
          <a:noAutofit/>
        </a:bodyPr>
        <a:lstStyle/>
        <a:p>
          <a:pPr marL="0" lvl="0" indent="0" algn="ctr" defTabSz="1377950">
            <a:lnSpc>
              <a:spcPct val="90000"/>
            </a:lnSpc>
            <a:spcBef>
              <a:spcPct val="0"/>
            </a:spcBef>
            <a:spcAft>
              <a:spcPct val="35000"/>
            </a:spcAft>
            <a:buNone/>
          </a:pPr>
          <a:r>
            <a:rPr lang="en-US" sz="3100" kern="1200" dirty="0">
              <a:solidFill>
                <a:schemeClr val="tx1"/>
              </a:solidFill>
            </a:rPr>
            <a:t>Practices To Consider</a:t>
          </a:r>
        </a:p>
      </dsp:txBody>
      <dsp:txXfrm>
        <a:off x="6155553" y="1158163"/>
        <a:ext cx="2698590" cy="1067771"/>
      </dsp:txXfrm>
    </dsp:sp>
    <dsp:sp modelId="{B2C70EFF-4051-4816-AE4A-923F1EEA1C36}">
      <dsp:nvSpPr>
        <dsp:cNvPr id="0" name=""/>
        <dsp:cNvSpPr/>
      </dsp:nvSpPr>
      <dsp:spPr>
        <a:xfrm>
          <a:off x="6155553" y="2225935"/>
          <a:ext cx="2698590" cy="3318705"/>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en-US" sz="2400" kern="1200" dirty="0"/>
            <a:t>Separating technical and price evaluations boards from senior official making ultimate purchase decision</a:t>
          </a:r>
        </a:p>
      </dsp:txBody>
      <dsp:txXfrm>
        <a:off x="6155553" y="2225935"/>
        <a:ext cx="2698590" cy="3318705"/>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61EC63-938C-4ABF-A3E0-ACE82C35E6D0}">
      <dsp:nvSpPr>
        <dsp:cNvPr id="0" name=""/>
        <dsp:cNvSpPr/>
      </dsp:nvSpPr>
      <dsp:spPr>
        <a:xfrm rot="16200000">
          <a:off x="1616" y="648748"/>
          <a:ext cx="3601372" cy="3601372"/>
        </a:xfrm>
        <a:prstGeom prst="downArrow">
          <a:avLst>
            <a:gd name="adj1" fmla="val 50000"/>
            <a:gd name="adj2" fmla="val 35000"/>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1:</a:t>
          </a:r>
        </a:p>
        <a:p>
          <a:pPr marL="0" lvl="0" indent="0" algn="ctr" defTabSz="1333500">
            <a:lnSpc>
              <a:spcPct val="90000"/>
            </a:lnSpc>
            <a:spcBef>
              <a:spcPct val="0"/>
            </a:spcBef>
            <a:spcAft>
              <a:spcPct val="35000"/>
            </a:spcAft>
            <a:buNone/>
          </a:pPr>
          <a:r>
            <a:rPr lang="en-US" sz="3000" kern="1200" dirty="0"/>
            <a:t>Debarment</a:t>
          </a:r>
        </a:p>
      </dsp:txBody>
      <dsp:txXfrm rot="5400000">
        <a:off x="1616" y="1549091"/>
        <a:ext cx="2971132" cy="1800686"/>
      </dsp:txXfrm>
    </dsp:sp>
    <dsp:sp modelId="{13DD1D39-21AA-4E21-BFF5-DB50CC39BE61}">
      <dsp:nvSpPr>
        <dsp:cNvPr id="0" name=""/>
        <dsp:cNvSpPr/>
      </dsp:nvSpPr>
      <dsp:spPr>
        <a:xfrm rot="5400000">
          <a:off x="3847122" y="648748"/>
          <a:ext cx="3601372" cy="3601372"/>
        </a:xfrm>
        <a:prstGeom prst="downArrow">
          <a:avLst>
            <a:gd name="adj1" fmla="val 50000"/>
            <a:gd name="adj2" fmla="val 35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ctr" anchorCtr="0">
          <a:noAutofit/>
        </a:bodyPr>
        <a:lstStyle/>
        <a:p>
          <a:pPr marL="0" lvl="0" indent="0" algn="ctr" defTabSz="1333500">
            <a:lnSpc>
              <a:spcPct val="90000"/>
            </a:lnSpc>
            <a:spcBef>
              <a:spcPct val="0"/>
            </a:spcBef>
            <a:spcAft>
              <a:spcPct val="35000"/>
            </a:spcAft>
            <a:buNone/>
          </a:pPr>
          <a:r>
            <a:rPr lang="en-US" sz="3000" kern="1200" dirty="0"/>
            <a:t>Country 2:</a:t>
          </a:r>
        </a:p>
        <a:p>
          <a:pPr marL="0" lvl="0" indent="0" algn="ctr" defTabSz="1333500">
            <a:lnSpc>
              <a:spcPct val="90000"/>
            </a:lnSpc>
            <a:spcBef>
              <a:spcPct val="0"/>
            </a:spcBef>
            <a:spcAft>
              <a:spcPct val="35000"/>
            </a:spcAft>
            <a:buNone/>
          </a:pPr>
          <a:r>
            <a:rPr lang="en-US" sz="3000" kern="1200" dirty="0"/>
            <a:t>Automatic Effect</a:t>
          </a:r>
        </a:p>
      </dsp:txBody>
      <dsp:txXfrm rot="-5400000">
        <a:off x="4477362" y="1549091"/>
        <a:ext cx="2971132" cy="180068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D3BD07-A67C-4516-A9C0-DBF791E8163E}">
      <dsp:nvSpPr>
        <dsp:cNvPr id="0" name=""/>
        <dsp:cNvSpPr/>
      </dsp:nvSpPr>
      <dsp:spPr>
        <a:xfrm>
          <a:off x="0" y="314227"/>
          <a:ext cx="8678091" cy="756000"/>
        </a:xfrm>
        <a:prstGeom prst="rect">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678FB72-09F9-4691-860A-E75F69BA147E}">
      <dsp:nvSpPr>
        <dsp:cNvPr id="0" name=""/>
        <dsp:cNvSpPr/>
      </dsp:nvSpPr>
      <dsp:spPr>
        <a:xfrm>
          <a:off x="433904" y="0"/>
          <a:ext cx="6074663" cy="885600"/>
        </a:xfrm>
        <a:prstGeom prst="roundRec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Automatic cross-debarment</a:t>
          </a:r>
        </a:p>
      </dsp:txBody>
      <dsp:txXfrm>
        <a:off x="477135" y="43231"/>
        <a:ext cx="5988201" cy="799138"/>
      </dsp:txXfrm>
    </dsp:sp>
    <dsp:sp modelId="{F6783BD7-F35D-40E8-8015-329D448D9A8A}">
      <dsp:nvSpPr>
        <dsp:cNvPr id="0" name=""/>
        <dsp:cNvSpPr/>
      </dsp:nvSpPr>
      <dsp:spPr>
        <a:xfrm>
          <a:off x="0" y="1808591"/>
          <a:ext cx="8678091" cy="756000"/>
        </a:xfrm>
        <a:prstGeom prst="rect">
          <a:avLst/>
        </a:prstGeom>
        <a:solidFill>
          <a:schemeClr val="lt1">
            <a:alpha val="90000"/>
            <a:hueOff val="0"/>
            <a:satOff val="0"/>
            <a:lumOff val="0"/>
            <a:alphaOff val="0"/>
          </a:schemeClr>
        </a:solidFill>
        <a:ln w="25400" cap="flat" cmpd="sng" algn="ctr">
          <a:solidFill>
            <a:schemeClr val="accent2">
              <a:hueOff val="-4800000"/>
              <a:satOff val="-16668"/>
              <a:lumOff val="20000"/>
              <a:alphaOff val="0"/>
            </a:schemeClr>
          </a:solidFill>
          <a:prstDash val="solid"/>
        </a:ln>
        <a:effectLst/>
      </dsp:spPr>
      <dsp:style>
        <a:lnRef idx="2">
          <a:scrgbClr r="0" g="0" b="0"/>
        </a:lnRef>
        <a:fillRef idx="1">
          <a:scrgbClr r="0" g="0" b="0"/>
        </a:fillRef>
        <a:effectRef idx="0">
          <a:scrgbClr r="0" g="0" b="0"/>
        </a:effectRef>
        <a:fontRef idx="minor"/>
      </dsp:style>
    </dsp:sp>
    <dsp:sp modelId="{5FBE4D6D-2257-4759-8372-5D7114B6D360}">
      <dsp:nvSpPr>
        <dsp:cNvPr id="0" name=""/>
        <dsp:cNvSpPr/>
      </dsp:nvSpPr>
      <dsp:spPr>
        <a:xfrm>
          <a:off x="433904" y="1365791"/>
          <a:ext cx="6074663" cy="885600"/>
        </a:xfrm>
        <a:prstGeom prst="roundRect">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Exchange list and causes</a:t>
          </a:r>
        </a:p>
      </dsp:txBody>
      <dsp:txXfrm>
        <a:off x="477135" y="1409022"/>
        <a:ext cx="5988201" cy="799138"/>
      </dsp:txXfrm>
    </dsp:sp>
    <dsp:sp modelId="{D5F6DF34-ED80-4A82-B3AB-BF4CB3E08015}">
      <dsp:nvSpPr>
        <dsp:cNvPr id="0" name=""/>
        <dsp:cNvSpPr/>
      </dsp:nvSpPr>
      <dsp:spPr>
        <a:xfrm>
          <a:off x="0" y="3169391"/>
          <a:ext cx="8678091" cy="756000"/>
        </a:xfrm>
        <a:prstGeom prst="rect">
          <a:avLst/>
        </a:prstGeom>
        <a:solidFill>
          <a:schemeClr val="lt1">
            <a:alpha val="90000"/>
            <a:hueOff val="0"/>
            <a:satOff val="0"/>
            <a:lumOff val="0"/>
            <a:alphaOff val="0"/>
          </a:schemeClr>
        </a:solidFill>
        <a:ln w="25400" cap="flat" cmpd="sng" algn="ctr">
          <a:solidFill>
            <a:schemeClr val="accent2">
              <a:hueOff val="-9600000"/>
              <a:satOff val="-33335"/>
              <a:lumOff val="40001"/>
              <a:alphaOff val="0"/>
            </a:schemeClr>
          </a:solidFill>
          <a:prstDash val="solid"/>
        </a:ln>
        <a:effectLst/>
      </dsp:spPr>
      <dsp:style>
        <a:lnRef idx="2">
          <a:scrgbClr r="0" g="0" b="0"/>
        </a:lnRef>
        <a:fillRef idx="1">
          <a:scrgbClr r="0" g="0" b="0"/>
        </a:fillRef>
        <a:effectRef idx="0">
          <a:scrgbClr r="0" g="0" b="0"/>
        </a:effectRef>
        <a:fontRef idx="minor"/>
      </dsp:style>
    </dsp:sp>
    <dsp:sp modelId="{491CD49C-296B-4FE7-ADDA-C28EDB05F783}">
      <dsp:nvSpPr>
        <dsp:cNvPr id="0" name=""/>
        <dsp:cNvSpPr/>
      </dsp:nvSpPr>
      <dsp:spPr>
        <a:xfrm>
          <a:off x="433904" y="2726591"/>
          <a:ext cx="6074663" cy="885600"/>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Publicly list excluded vendors</a:t>
          </a:r>
        </a:p>
      </dsp:txBody>
      <dsp:txXfrm>
        <a:off x="477135" y="2769822"/>
        <a:ext cx="5988201" cy="799138"/>
      </dsp:txXfrm>
    </dsp:sp>
    <dsp:sp modelId="{CAD00054-B3F6-4B9A-BC8C-F8C0BECD4493}">
      <dsp:nvSpPr>
        <dsp:cNvPr id="0" name=""/>
        <dsp:cNvSpPr/>
      </dsp:nvSpPr>
      <dsp:spPr>
        <a:xfrm>
          <a:off x="0" y="4530191"/>
          <a:ext cx="8678091" cy="756000"/>
        </a:xfrm>
        <a:prstGeom prst="rect">
          <a:avLst/>
        </a:prstGeom>
        <a:solidFill>
          <a:schemeClr val="lt1">
            <a:alpha val="90000"/>
            <a:hueOff val="0"/>
            <a:satOff val="0"/>
            <a:lumOff val="0"/>
            <a:alphaOff val="0"/>
          </a:schemeClr>
        </a:solidFill>
        <a:ln w="25400" cap="flat" cmpd="sng" algn="ctr">
          <a:solidFill>
            <a:schemeClr val="accent2">
              <a:hueOff val="-14400000"/>
              <a:satOff val="-50003"/>
              <a:lumOff val="60001"/>
              <a:alphaOff val="0"/>
            </a:schemeClr>
          </a:solidFill>
          <a:prstDash val="solid"/>
        </a:ln>
        <a:effectLst/>
      </dsp:spPr>
      <dsp:style>
        <a:lnRef idx="2">
          <a:scrgbClr r="0" g="0" b="0"/>
        </a:lnRef>
        <a:fillRef idx="1">
          <a:scrgbClr r="0" g="0" b="0"/>
        </a:fillRef>
        <a:effectRef idx="0">
          <a:scrgbClr r="0" g="0" b="0"/>
        </a:effectRef>
        <a:fontRef idx="minor"/>
      </dsp:style>
    </dsp:sp>
    <dsp:sp modelId="{635968F4-E432-4995-88B1-F150C99CB330}">
      <dsp:nvSpPr>
        <dsp:cNvPr id="0" name=""/>
        <dsp:cNvSpPr/>
      </dsp:nvSpPr>
      <dsp:spPr>
        <a:xfrm>
          <a:off x="433904" y="4087391"/>
          <a:ext cx="6074663" cy="885600"/>
        </a:xfrm>
        <a:prstGeom prst="roundRect">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9608" tIns="0" rIns="229608" bIns="0" numCol="1" spcCol="1270" anchor="ctr" anchorCtr="0">
          <a:noAutofit/>
        </a:bodyPr>
        <a:lstStyle/>
        <a:p>
          <a:pPr marL="0" lvl="0" indent="0" algn="l" defTabSz="1333500">
            <a:lnSpc>
              <a:spcPct val="90000"/>
            </a:lnSpc>
            <a:spcBef>
              <a:spcPct val="0"/>
            </a:spcBef>
            <a:spcAft>
              <a:spcPct val="35000"/>
            </a:spcAft>
            <a:buNone/>
          </a:pPr>
          <a:r>
            <a:rPr lang="en-US" sz="3000" kern="1200" dirty="0">
              <a:solidFill>
                <a:srgbClr val="FFFF00"/>
              </a:solidFill>
            </a:rPr>
            <a:t>Do nothing</a:t>
          </a:r>
        </a:p>
      </dsp:txBody>
      <dsp:txXfrm>
        <a:off x="477135" y="4130622"/>
        <a:ext cx="5988201" cy="79913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277604" y="2243144"/>
          <a:ext cx="1684802" cy="1684802"/>
        </a:xfrm>
        <a:prstGeom prst="ellipse">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Online Solution</a:t>
          </a:r>
        </a:p>
      </dsp:txBody>
      <dsp:txXfrm>
        <a:off x="2524338" y="2489878"/>
        <a:ext cx="1191334" cy="1191334"/>
      </dsp:txXfrm>
    </dsp:sp>
    <dsp:sp modelId="{042FBC3E-8E87-4CCC-96A0-E5396E45A26C}">
      <dsp:nvSpPr>
        <dsp:cNvPr id="0" name=""/>
        <dsp:cNvSpPr/>
      </dsp:nvSpPr>
      <dsp:spPr>
        <a:xfrm rot="11700000">
          <a:off x="776244" y="2414713"/>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48" y="1824033"/>
          <a:ext cx="1600562" cy="1280450"/>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Centralized Purchasing Agency</a:t>
          </a:r>
        </a:p>
      </dsp:txBody>
      <dsp:txXfrm>
        <a:off x="38551" y="1861536"/>
        <a:ext cx="1525556" cy="1205444"/>
      </dsp:txXfrm>
    </dsp:sp>
    <dsp:sp modelId="{0C83857D-B5DD-4685-93B8-2ACE86B24C18}">
      <dsp:nvSpPr>
        <dsp:cNvPr id="0" name=""/>
        <dsp:cNvSpPr/>
      </dsp:nvSpPr>
      <dsp:spPr>
        <a:xfrm rot="14700000">
          <a:off x="1680461" y="1337108"/>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305241" y="269755"/>
          <a:ext cx="1600562" cy="1280450"/>
        </a:xfrm>
        <a:prstGeom prst="roundRect">
          <a:avLst>
            <a:gd name="adj" fmla="val 10000"/>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Market</a:t>
          </a:r>
        </a:p>
      </dsp:txBody>
      <dsp:txXfrm>
        <a:off x="1342744" y="307258"/>
        <a:ext cx="1525556" cy="1205444"/>
      </dsp:txXfrm>
    </dsp:sp>
    <dsp:sp modelId="{F3230760-F423-4CC4-8AA3-BCF1912B4547}">
      <dsp:nvSpPr>
        <dsp:cNvPr id="0" name=""/>
        <dsp:cNvSpPr/>
      </dsp:nvSpPr>
      <dsp:spPr>
        <a:xfrm rot="17700000">
          <a:off x="3087174" y="1337108"/>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334206" y="269755"/>
          <a:ext cx="1600562" cy="1280450"/>
        </a:xfrm>
        <a:prstGeom prst="roundRect">
          <a:avLst>
            <a:gd name="adj" fmla="val 10000"/>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Congress</a:t>
          </a:r>
        </a:p>
      </dsp:txBody>
      <dsp:txXfrm>
        <a:off x="3371709" y="307258"/>
        <a:ext cx="1525556" cy="1205444"/>
      </dsp:txXfrm>
    </dsp:sp>
    <dsp:sp modelId="{7F2C2E95-A083-424E-AEF1-84A57146E1D7}">
      <dsp:nvSpPr>
        <dsp:cNvPr id="0" name=""/>
        <dsp:cNvSpPr/>
      </dsp:nvSpPr>
      <dsp:spPr>
        <a:xfrm rot="20700000">
          <a:off x="3991391" y="2414713"/>
          <a:ext cx="1472374" cy="480168"/>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638400" y="1824033"/>
          <a:ext cx="1600562" cy="128045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977900">
            <a:lnSpc>
              <a:spcPct val="90000"/>
            </a:lnSpc>
            <a:spcBef>
              <a:spcPct val="0"/>
            </a:spcBef>
            <a:spcAft>
              <a:spcPct val="35000"/>
            </a:spcAft>
            <a:buNone/>
          </a:pPr>
          <a:r>
            <a:rPr lang="en-US" sz="2200" kern="1200" dirty="0"/>
            <a:t>Users</a:t>
          </a:r>
        </a:p>
      </dsp:txBody>
      <dsp:txXfrm>
        <a:off x="4675903" y="1861536"/>
        <a:ext cx="1525556" cy="120544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2767" y="678973"/>
          <a:ext cx="2698590" cy="758991"/>
        </a:xfrm>
        <a:prstGeom prst="rect">
          <a:avLst/>
        </a:prstGeom>
        <a:solidFill>
          <a:srgbClr val="FFFF00"/>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tx1"/>
              </a:solidFill>
            </a:rPr>
            <a:t>Georgia Conflict of Interest Law</a:t>
          </a:r>
        </a:p>
      </dsp:txBody>
      <dsp:txXfrm>
        <a:off x="2767" y="678973"/>
        <a:ext cx="2698590" cy="758991"/>
      </dsp:txXfrm>
    </dsp:sp>
    <dsp:sp modelId="{BD1D2419-3FBE-4CDD-B9F0-2791A66260DC}">
      <dsp:nvSpPr>
        <dsp:cNvPr id="0" name=""/>
        <dsp:cNvSpPr/>
      </dsp:nvSpPr>
      <dsp:spPr>
        <a:xfrm>
          <a:off x="2767" y="1437964"/>
          <a:ext cx="2698590" cy="4585865"/>
        </a:xfrm>
        <a:prstGeom prst="rect">
          <a:avLst/>
        </a:prstGeom>
        <a:solidFill>
          <a:srgbClr val="FFC000">
            <a:alpha val="90000"/>
          </a:srgb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kern="1200" dirty="0"/>
            <a:t>Protection for disclosing violation of conflicts of interest law or other law, which may hurt government reputation</a:t>
          </a:r>
        </a:p>
        <a:p>
          <a:pPr marL="228600" lvl="1" indent="-228600" algn="l" defTabSz="977900">
            <a:lnSpc>
              <a:spcPct val="90000"/>
            </a:lnSpc>
            <a:spcBef>
              <a:spcPct val="0"/>
            </a:spcBef>
            <a:spcAft>
              <a:spcPct val="15000"/>
            </a:spcAft>
            <a:buChar char="•"/>
          </a:pPr>
          <a:endParaRPr lang="en-US" sz="2200" kern="1200" dirty="0"/>
        </a:p>
      </dsp:txBody>
      <dsp:txXfrm>
        <a:off x="2767" y="1437964"/>
        <a:ext cx="2698590" cy="4585865"/>
      </dsp:txXfrm>
    </dsp:sp>
    <dsp:sp modelId="{8E6D5C47-3AC7-4A32-A37A-EB161483C401}">
      <dsp:nvSpPr>
        <dsp:cNvPr id="0" name=""/>
        <dsp:cNvSpPr/>
      </dsp:nvSpPr>
      <dsp:spPr>
        <a:xfrm>
          <a:off x="3079160" y="678973"/>
          <a:ext cx="2698590" cy="758991"/>
        </a:xfrm>
        <a:prstGeom prst="rect">
          <a:avLst/>
        </a:prstGeom>
        <a:solidFill>
          <a:schemeClr val="accent4">
            <a:hueOff val="5571487"/>
            <a:satOff val="19812"/>
            <a:lumOff val="44804"/>
            <a:alphaOff val="0"/>
          </a:schemeClr>
        </a:solidFill>
        <a:ln w="25400" cap="flat" cmpd="sng" algn="ctr">
          <a:solidFill>
            <a:schemeClr val="accent4">
              <a:hueOff val="5571487"/>
              <a:satOff val="19812"/>
              <a:lumOff val="4480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b="1" kern="1200" dirty="0"/>
            <a:t>Draft Georgia Procurement Law</a:t>
          </a:r>
        </a:p>
      </dsp:txBody>
      <dsp:txXfrm>
        <a:off x="3079160" y="678973"/>
        <a:ext cx="2698590" cy="758991"/>
      </dsp:txXfrm>
    </dsp:sp>
    <dsp:sp modelId="{AE4847B9-13D2-4C12-A199-E437ADF0E1F4}">
      <dsp:nvSpPr>
        <dsp:cNvPr id="0" name=""/>
        <dsp:cNvSpPr/>
      </dsp:nvSpPr>
      <dsp:spPr>
        <a:xfrm>
          <a:off x="3079160" y="1407147"/>
          <a:ext cx="2698590" cy="4585865"/>
        </a:xfrm>
        <a:prstGeom prst="rect">
          <a:avLst/>
        </a:prstGeom>
        <a:solidFill>
          <a:schemeClr val="accent4">
            <a:tint val="40000"/>
            <a:alpha val="90000"/>
            <a:hueOff val="5577458"/>
            <a:satOff val="19029"/>
            <a:lumOff val="8139"/>
            <a:alphaOff val="0"/>
          </a:schemeClr>
        </a:solidFill>
        <a:ln w="25400" cap="flat" cmpd="sng" algn="ctr">
          <a:solidFill>
            <a:schemeClr val="accent4">
              <a:tint val="40000"/>
              <a:alpha val="90000"/>
              <a:hueOff val="5577458"/>
              <a:satOff val="19029"/>
              <a:lumOff val="81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None/>
          </a:pPr>
          <a:endParaRPr lang="en-US" sz="2200" kern="1200" dirty="0"/>
        </a:p>
      </dsp:txBody>
      <dsp:txXfrm>
        <a:off x="3079160" y="1407147"/>
        <a:ext cx="2698590" cy="4585865"/>
      </dsp:txXfrm>
    </dsp:sp>
    <dsp:sp modelId="{C3750E5D-B8B6-4E37-85C4-FF8FA966C67E}">
      <dsp:nvSpPr>
        <dsp:cNvPr id="0" name=""/>
        <dsp:cNvSpPr/>
      </dsp:nvSpPr>
      <dsp:spPr>
        <a:xfrm>
          <a:off x="6155553" y="678973"/>
          <a:ext cx="2698590" cy="758991"/>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89408" rIns="156464" bIns="89408"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tx1"/>
              </a:solidFill>
            </a:rPr>
            <a:t>Practices To Consider</a:t>
          </a:r>
        </a:p>
      </dsp:txBody>
      <dsp:txXfrm>
        <a:off x="6155553" y="678973"/>
        <a:ext cx="2698590" cy="758991"/>
      </dsp:txXfrm>
    </dsp:sp>
    <dsp:sp modelId="{B2C70EFF-4051-4816-AE4A-923F1EEA1C36}">
      <dsp:nvSpPr>
        <dsp:cNvPr id="0" name=""/>
        <dsp:cNvSpPr/>
      </dsp:nvSpPr>
      <dsp:spPr>
        <a:xfrm>
          <a:off x="6155553" y="1437964"/>
          <a:ext cx="2698590" cy="4585865"/>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17348" tIns="117348" rIns="156464" bIns="176022" numCol="1" spcCol="1270" anchor="t" anchorCtr="0">
          <a:noAutofit/>
        </a:bodyPr>
        <a:lstStyle/>
        <a:p>
          <a:pPr marL="228600" lvl="1" indent="-228600" algn="l" defTabSz="977900">
            <a:lnSpc>
              <a:spcPct val="90000"/>
            </a:lnSpc>
            <a:spcBef>
              <a:spcPct val="0"/>
            </a:spcBef>
            <a:spcAft>
              <a:spcPct val="15000"/>
            </a:spcAft>
            <a:buChar char="•"/>
          </a:pPr>
          <a:r>
            <a:rPr lang="en-US" sz="2200" u="none" kern="1200" dirty="0"/>
            <a:t>Encourage </a:t>
          </a:r>
          <a:r>
            <a:rPr lang="en-US" sz="2200" u="sng" kern="1200" dirty="0"/>
            <a:t>procurement fraud</a:t>
          </a:r>
          <a:r>
            <a:rPr lang="en-US" sz="2200" u="none" kern="1200" dirty="0"/>
            <a:t> whistleblower:</a:t>
          </a:r>
          <a:endParaRPr lang="en-US" sz="2200" kern="1200" dirty="0"/>
        </a:p>
        <a:p>
          <a:pPr marL="457200" lvl="2" indent="-228600" algn="l" defTabSz="977900">
            <a:lnSpc>
              <a:spcPct val="90000"/>
            </a:lnSpc>
            <a:spcBef>
              <a:spcPct val="0"/>
            </a:spcBef>
            <a:spcAft>
              <a:spcPct val="15000"/>
            </a:spcAft>
            <a:buChar char="•"/>
          </a:pPr>
          <a:r>
            <a:rPr lang="en-US" sz="2200" kern="1200" dirty="0"/>
            <a:t>Allow to drive process</a:t>
          </a:r>
        </a:p>
        <a:p>
          <a:pPr marL="457200" lvl="2" indent="-228600" algn="l" defTabSz="977900">
            <a:lnSpc>
              <a:spcPct val="90000"/>
            </a:lnSpc>
            <a:spcBef>
              <a:spcPct val="0"/>
            </a:spcBef>
            <a:spcAft>
              <a:spcPct val="15000"/>
            </a:spcAft>
            <a:buChar char="•"/>
          </a:pPr>
          <a:r>
            <a:rPr lang="en-US" sz="2200" kern="1200" dirty="0"/>
            <a:t>Bounty or special protection</a:t>
          </a:r>
        </a:p>
        <a:p>
          <a:pPr marL="457200" lvl="2" indent="-228600" algn="l" defTabSz="977900">
            <a:lnSpc>
              <a:spcPct val="90000"/>
            </a:lnSpc>
            <a:spcBef>
              <a:spcPct val="0"/>
            </a:spcBef>
            <a:spcAft>
              <a:spcPct val="15000"/>
            </a:spcAft>
            <a:buChar char="•"/>
          </a:pPr>
          <a:r>
            <a:rPr lang="en-US" sz="2200" kern="1200" dirty="0"/>
            <a:t>Lower proof standard regarding fraudulent intent</a:t>
          </a:r>
        </a:p>
      </dsp:txBody>
      <dsp:txXfrm>
        <a:off x="6155553" y="1437964"/>
        <a:ext cx="2698590" cy="458586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EACAF1-3E04-41B1-BE43-89FFBF0D4D71}">
      <dsp:nvSpPr>
        <dsp:cNvPr id="0" name=""/>
        <dsp:cNvSpPr/>
      </dsp:nvSpPr>
      <dsp:spPr>
        <a:xfrm>
          <a:off x="609599" y="0"/>
          <a:ext cx="6908800" cy="541866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C75EE13-70F5-4616-933F-210CBEB21523}">
      <dsp:nvSpPr>
        <dsp:cNvPr id="0" name=""/>
        <dsp:cNvSpPr/>
      </dsp:nvSpPr>
      <dsp:spPr>
        <a:xfrm>
          <a:off x="8731" y="1625600"/>
          <a:ext cx="2616200" cy="2167466"/>
        </a:xfrm>
        <a:prstGeom prst="roundRect">
          <a:avLst/>
        </a:prstGeom>
        <a:solidFill>
          <a:srgbClr val="00B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EU Directive Calls for “Self-Cleaning” of Corrupt Contractors</a:t>
          </a:r>
        </a:p>
      </dsp:txBody>
      <dsp:txXfrm>
        <a:off x="114538" y="1731407"/>
        <a:ext cx="2404586" cy="1955852"/>
      </dsp:txXfrm>
    </dsp:sp>
    <dsp:sp modelId="{2782AEFC-52CC-4708-B17C-C345D740F903}">
      <dsp:nvSpPr>
        <dsp:cNvPr id="0" name=""/>
        <dsp:cNvSpPr/>
      </dsp:nvSpPr>
      <dsp:spPr>
        <a:xfrm>
          <a:off x="2755899" y="1625600"/>
          <a:ext cx="2616200" cy="2167466"/>
        </a:xfrm>
        <a:prstGeom prst="roundRect">
          <a:avLst/>
        </a:prstGeom>
        <a:solidFill>
          <a:schemeClr val="accent6">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Georgia’s Anti-Corruption Strategy 2017-2018 Calls for Corporate Integrity Measures, Especially in State-Owned Enterprises</a:t>
          </a:r>
        </a:p>
      </dsp:txBody>
      <dsp:txXfrm>
        <a:off x="2861706" y="1731407"/>
        <a:ext cx="2404586" cy="1955852"/>
      </dsp:txXfrm>
    </dsp:sp>
    <dsp:sp modelId="{0FAC7A2E-49B3-4CF7-9B72-B83A9084E78D}">
      <dsp:nvSpPr>
        <dsp:cNvPr id="0" name=""/>
        <dsp:cNvSpPr/>
      </dsp:nvSpPr>
      <dsp:spPr>
        <a:xfrm>
          <a:off x="5503068" y="1625600"/>
          <a:ext cx="2616200" cy="2167466"/>
        </a:xfrm>
        <a:prstGeom prst="roundRect">
          <a:avLst/>
        </a:prstGeom>
        <a:solidFill>
          <a:srgbClr val="0069B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kern="1200" dirty="0"/>
            <a:t>Corporate Integrity Standards Are Parallel Across the Globe</a:t>
          </a:r>
        </a:p>
      </dsp:txBody>
      <dsp:txXfrm>
        <a:off x="5608875" y="1731407"/>
        <a:ext cx="2404586" cy="195585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2767" y="1187260"/>
          <a:ext cx="2698590" cy="792723"/>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Current Georgia Procurement Law</a:t>
          </a:r>
        </a:p>
      </dsp:txBody>
      <dsp:txXfrm>
        <a:off x="2767" y="1187260"/>
        <a:ext cx="2698590" cy="792723"/>
      </dsp:txXfrm>
    </dsp:sp>
    <dsp:sp modelId="{BD1D2419-3FBE-4CDD-B9F0-2791A66260DC}">
      <dsp:nvSpPr>
        <dsp:cNvPr id="0" name=""/>
        <dsp:cNvSpPr/>
      </dsp:nvSpPr>
      <dsp:spPr>
        <a:xfrm>
          <a:off x="2767" y="1979983"/>
          <a:ext cx="2698590" cy="3535560"/>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US" sz="2000" u="sng" kern="1200" dirty="0"/>
            <a:t>Personal conflict of interest</a:t>
          </a:r>
          <a:r>
            <a:rPr lang="en-US" sz="2000" kern="1200" dirty="0"/>
            <a:t> if procuring or oversight official is </a:t>
          </a:r>
          <a:r>
            <a:rPr lang="en-US" sz="2000" b="1" kern="1200" dirty="0"/>
            <a:t>relative </a:t>
          </a:r>
          <a:r>
            <a:rPr lang="en-US" sz="2000" kern="1200" dirty="0"/>
            <a:t>or under </a:t>
          </a:r>
          <a:r>
            <a:rPr lang="en-US" sz="2000" b="1" kern="1200" dirty="0"/>
            <a:t>common control </a:t>
          </a:r>
          <a:r>
            <a:rPr lang="en-US" sz="2000" kern="1200" dirty="0"/>
            <a:t>(Art. 8)</a:t>
          </a:r>
        </a:p>
        <a:p>
          <a:pPr marL="228600" lvl="1" indent="-228600" algn="l" defTabSz="889000">
            <a:lnSpc>
              <a:spcPct val="90000"/>
            </a:lnSpc>
            <a:spcBef>
              <a:spcPct val="0"/>
            </a:spcBef>
            <a:spcAft>
              <a:spcPct val="15000"/>
            </a:spcAft>
            <a:buChar char="•"/>
          </a:pPr>
          <a:r>
            <a:rPr lang="en-US" sz="2000" kern="1200" dirty="0"/>
            <a:t>Vendor may not influence procurement or oversight</a:t>
          </a:r>
        </a:p>
        <a:p>
          <a:pPr marL="228600" lvl="1" indent="-228600" algn="l" defTabSz="889000">
            <a:lnSpc>
              <a:spcPct val="90000"/>
            </a:lnSpc>
            <a:spcBef>
              <a:spcPct val="0"/>
            </a:spcBef>
            <a:spcAft>
              <a:spcPct val="15000"/>
            </a:spcAft>
            <a:buChar char="•"/>
          </a:pPr>
          <a:r>
            <a:rPr lang="en-US" sz="2000" kern="1200" dirty="0"/>
            <a:t>Official must declare any conflict</a:t>
          </a:r>
        </a:p>
      </dsp:txBody>
      <dsp:txXfrm>
        <a:off x="2767" y="1979983"/>
        <a:ext cx="2698590" cy="3535560"/>
      </dsp:txXfrm>
    </dsp:sp>
    <dsp:sp modelId="{8E6D5C47-3AC7-4A32-A37A-EB161483C401}">
      <dsp:nvSpPr>
        <dsp:cNvPr id="0" name=""/>
        <dsp:cNvSpPr/>
      </dsp:nvSpPr>
      <dsp:spPr>
        <a:xfrm>
          <a:off x="3079160" y="1187260"/>
          <a:ext cx="2698590" cy="792723"/>
        </a:xfrm>
        <a:prstGeom prst="rect">
          <a:avLst/>
        </a:prstGeom>
        <a:solidFill>
          <a:schemeClr val="accent4">
            <a:hueOff val="5571487"/>
            <a:satOff val="19812"/>
            <a:lumOff val="44804"/>
            <a:alphaOff val="0"/>
          </a:schemeClr>
        </a:solidFill>
        <a:ln w="25400" cap="flat" cmpd="sng" algn="ctr">
          <a:solidFill>
            <a:schemeClr val="accent4">
              <a:hueOff val="5571487"/>
              <a:satOff val="19812"/>
              <a:lumOff val="4480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t>Draft Georgia Procurement Law</a:t>
          </a:r>
        </a:p>
      </dsp:txBody>
      <dsp:txXfrm>
        <a:off x="3079160" y="1187260"/>
        <a:ext cx="2698590" cy="792723"/>
      </dsp:txXfrm>
    </dsp:sp>
    <dsp:sp modelId="{AE4847B9-13D2-4C12-A199-E437ADF0E1F4}">
      <dsp:nvSpPr>
        <dsp:cNvPr id="0" name=""/>
        <dsp:cNvSpPr/>
      </dsp:nvSpPr>
      <dsp:spPr>
        <a:xfrm>
          <a:off x="3079160" y="1979983"/>
          <a:ext cx="2698590" cy="3535560"/>
        </a:xfrm>
        <a:prstGeom prst="rect">
          <a:avLst/>
        </a:prstGeom>
        <a:solidFill>
          <a:schemeClr val="accent4">
            <a:tint val="40000"/>
            <a:alpha val="90000"/>
            <a:hueOff val="5577458"/>
            <a:satOff val="19029"/>
            <a:lumOff val="8139"/>
            <a:alphaOff val="0"/>
          </a:schemeClr>
        </a:solidFill>
        <a:ln w="25400" cap="flat" cmpd="sng" algn="ctr">
          <a:solidFill>
            <a:schemeClr val="accent4">
              <a:tint val="40000"/>
              <a:alpha val="90000"/>
              <a:hueOff val="5577458"/>
              <a:satOff val="19029"/>
              <a:lumOff val="81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Addresses personal conflicts of interest</a:t>
          </a:r>
        </a:p>
        <a:p>
          <a:pPr marL="171450" lvl="1" indent="-171450" algn="l" defTabSz="800100">
            <a:lnSpc>
              <a:spcPct val="90000"/>
            </a:lnSpc>
            <a:spcBef>
              <a:spcPct val="0"/>
            </a:spcBef>
            <a:spcAft>
              <a:spcPct val="15000"/>
            </a:spcAft>
            <a:buChar char="•"/>
          </a:pPr>
          <a:r>
            <a:rPr lang="en-US" sz="1800" kern="1200" dirty="0"/>
            <a:t>Publishing committee minutes (notable best practice)</a:t>
          </a:r>
        </a:p>
        <a:p>
          <a:pPr marL="171450" lvl="1" indent="-171450" algn="l" defTabSz="800100">
            <a:lnSpc>
              <a:spcPct val="90000"/>
            </a:lnSpc>
            <a:spcBef>
              <a:spcPct val="0"/>
            </a:spcBef>
            <a:spcAft>
              <a:spcPct val="15000"/>
            </a:spcAft>
            <a:buChar char="•"/>
          </a:pPr>
          <a:r>
            <a:rPr lang="en-US" sz="1800" kern="1200" dirty="0"/>
            <a:t>Organizational conflict of interest (OCI) barred if unfair advantage (Art. 19) – for “equal treatment”?</a:t>
          </a:r>
        </a:p>
      </dsp:txBody>
      <dsp:txXfrm>
        <a:off x="3079160" y="1979983"/>
        <a:ext cx="2698590" cy="3535560"/>
      </dsp:txXfrm>
    </dsp:sp>
    <dsp:sp modelId="{C3750E5D-B8B6-4E37-85C4-FF8FA966C67E}">
      <dsp:nvSpPr>
        <dsp:cNvPr id="0" name=""/>
        <dsp:cNvSpPr/>
      </dsp:nvSpPr>
      <dsp:spPr>
        <a:xfrm>
          <a:off x="6155553" y="1187260"/>
          <a:ext cx="2698590" cy="792723"/>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3576" tIns="93472" rIns="163576" bIns="93472"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chemeClr val="tx1"/>
              </a:solidFill>
            </a:rPr>
            <a:t>Practices To Consider</a:t>
          </a:r>
        </a:p>
      </dsp:txBody>
      <dsp:txXfrm>
        <a:off x="6155553" y="1187260"/>
        <a:ext cx="2698590" cy="792723"/>
      </dsp:txXfrm>
    </dsp:sp>
    <dsp:sp modelId="{B2C70EFF-4051-4816-AE4A-923F1EEA1C36}">
      <dsp:nvSpPr>
        <dsp:cNvPr id="0" name=""/>
        <dsp:cNvSpPr/>
      </dsp:nvSpPr>
      <dsp:spPr>
        <a:xfrm>
          <a:off x="6158320" y="2016152"/>
          <a:ext cx="2698590" cy="3535560"/>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t>For procurement officials, stricter:</a:t>
          </a:r>
        </a:p>
        <a:p>
          <a:pPr marL="342900" lvl="2" indent="-171450" algn="l" defTabSz="711200">
            <a:lnSpc>
              <a:spcPct val="90000"/>
            </a:lnSpc>
            <a:spcBef>
              <a:spcPct val="0"/>
            </a:spcBef>
            <a:spcAft>
              <a:spcPct val="15000"/>
            </a:spcAft>
            <a:buChar char="•"/>
          </a:pPr>
          <a:r>
            <a:rPr lang="en-US" sz="1600" kern="1200" dirty="0"/>
            <a:t>Gift limit</a:t>
          </a:r>
        </a:p>
        <a:p>
          <a:pPr marL="342900" lvl="2" indent="-171450" algn="l" defTabSz="711200">
            <a:lnSpc>
              <a:spcPct val="90000"/>
            </a:lnSpc>
            <a:spcBef>
              <a:spcPct val="0"/>
            </a:spcBef>
            <a:spcAft>
              <a:spcPct val="15000"/>
            </a:spcAft>
            <a:buChar char="•"/>
          </a:pPr>
          <a:r>
            <a:rPr lang="en-US" sz="1600" kern="1200" dirty="0"/>
            <a:t>“Revolving door” limits</a:t>
          </a:r>
        </a:p>
        <a:p>
          <a:pPr marL="342900" lvl="2" indent="-171450" algn="l" defTabSz="711200">
            <a:lnSpc>
              <a:spcPct val="90000"/>
            </a:lnSpc>
            <a:spcBef>
              <a:spcPct val="0"/>
            </a:spcBef>
            <a:spcAft>
              <a:spcPct val="15000"/>
            </a:spcAft>
            <a:buChar char="•"/>
          </a:pPr>
          <a:r>
            <a:rPr lang="en-US" sz="1600" kern="1200" dirty="0"/>
            <a:t>No disclosure of bidder or procurement-sensitive information</a:t>
          </a:r>
        </a:p>
        <a:p>
          <a:pPr marL="171450" lvl="1" indent="-171450" algn="l" defTabSz="711200">
            <a:lnSpc>
              <a:spcPct val="90000"/>
            </a:lnSpc>
            <a:spcBef>
              <a:spcPct val="0"/>
            </a:spcBef>
            <a:spcAft>
              <a:spcPct val="15000"/>
            </a:spcAft>
            <a:buChar char="•"/>
          </a:pPr>
          <a:r>
            <a:rPr lang="en-US" sz="1600" kern="1200" dirty="0"/>
            <a:t>Publish common Code of Ethics for Contracting Entities, for vendors to mirror</a:t>
          </a:r>
        </a:p>
        <a:p>
          <a:pPr marL="171450" lvl="1" indent="-171450" algn="l" defTabSz="711200">
            <a:lnSpc>
              <a:spcPct val="90000"/>
            </a:lnSpc>
            <a:spcBef>
              <a:spcPct val="0"/>
            </a:spcBef>
            <a:spcAft>
              <a:spcPct val="15000"/>
            </a:spcAft>
            <a:buChar char="•"/>
          </a:pPr>
          <a:r>
            <a:rPr lang="en-US" sz="1600" kern="1200" dirty="0"/>
            <a:t>Bar OCI’s for biased advice</a:t>
          </a:r>
        </a:p>
      </dsp:txBody>
      <dsp:txXfrm>
        <a:off x="6158320" y="2016152"/>
        <a:ext cx="2698590" cy="353556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E7B424-E3EB-4E4B-971C-0DBFE0C62250}">
      <dsp:nvSpPr>
        <dsp:cNvPr id="0" name=""/>
        <dsp:cNvSpPr/>
      </dsp:nvSpPr>
      <dsp:spPr>
        <a:xfrm>
          <a:off x="2767" y="356952"/>
          <a:ext cx="2698590" cy="903785"/>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Current Georgia Law</a:t>
          </a:r>
        </a:p>
      </dsp:txBody>
      <dsp:txXfrm>
        <a:off x="2767" y="356952"/>
        <a:ext cx="2698590" cy="903785"/>
      </dsp:txXfrm>
    </dsp:sp>
    <dsp:sp modelId="{BD1D2419-3FBE-4CDD-B9F0-2791A66260DC}">
      <dsp:nvSpPr>
        <dsp:cNvPr id="0" name=""/>
        <dsp:cNvSpPr/>
      </dsp:nvSpPr>
      <dsp:spPr>
        <a:xfrm>
          <a:off x="2767" y="1260738"/>
          <a:ext cx="2698590" cy="5085112"/>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White” list</a:t>
          </a:r>
        </a:p>
        <a:p>
          <a:pPr marL="228600" lvl="1" indent="-228600" algn="l" defTabSz="1155700">
            <a:lnSpc>
              <a:spcPct val="90000"/>
            </a:lnSpc>
            <a:spcBef>
              <a:spcPct val="0"/>
            </a:spcBef>
            <a:spcAft>
              <a:spcPct val="15000"/>
            </a:spcAft>
            <a:buChar char="•"/>
          </a:pPr>
          <a:r>
            <a:rPr lang="en-US" sz="2600" kern="1200" dirty="0"/>
            <a:t>“Black” list of </a:t>
          </a:r>
          <a:r>
            <a:rPr lang="en-US" sz="2600" i="1" kern="1200" dirty="0"/>
            <a:t>mala fide </a:t>
          </a:r>
          <a:r>
            <a:rPr lang="en-US" sz="2600" i="0" kern="1200" dirty="0"/>
            <a:t>(done with bad faith)</a:t>
          </a:r>
          <a:endParaRPr lang="en-US" sz="2600" kern="1200" dirty="0"/>
        </a:p>
      </dsp:txBody>
      <dsp:txXfrm>
        <a:off x="2767" y="1260738"/>
        <a:ext cx="2698590" cy="5085112"/>
      </dsp:txXfrm>
    </dsp:sp>
    <dsp:sp modelId="{8E6D5C47-3AC7-4A32-A37A-EB161483C401}">
      <dsp:nvSpPr>
        <dsp:cNvPr id="0" name=""/>
        <dsp:cNvSpPr/>
      </dsp:nvSpPr>
      <dsp:spPr>
        <a:xfrm>
          <a:off x="3079160" y="356952"/>
          <a:ext cx="2698590" cy="903785"/>
        </a:xfrm>
        <a:prstGeom prst="rect">
          <a:avLst/>
        </a:prstGeom>
        <a:solidFill>
          <a:schemeClr val="accent4">
            <a:hueOff val="5571487"/>
            <a:satOff val="19812"/>
            <a:lumOff val="44804"/>
            <a:alphaOff val="0"/>
          </a:schemeClr>
        </a:solidFill>
        <a:ln w="25400" cap="flat" cmpd="sng" algn="ctr">
          <a:solidFill>
            <a:schemeClr val="accent4">
              <a:hueOff val="5571487"/>
              <a:satOff val="19812"/>
              <a:lumOff val="4480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t>Draft Georgia Law</a:t>
          </a:r>
        </a:p>
      </dsp:txBody>
      <dsp:txXfrm>
        <a:off x="3079160" y="356952"/>
        <a:ext cx="2698590" cy="903785"/>
      </dsp:txXfrm>
    </dsp:sp>
    <dsp:sp modelId="{AE4847B9-13D2-4C12-A199-E437ADF0E1F4}">
      <dsp:nvSpPr>
        <dsp:cNvPr id="0" name=""/>
        <dsp:cNvSpPr/>
      </dsp:nvSpPr>
      <dsp:spPr>
        <a:xfrm>
          <a:off x="3079160" y="1260738"/>
          <a:ext cx="2698590" cy="5085112"/>
        </a:xfrm>
        <a:prstGeom prst="rect">
          <a:avLst/>
        </a:prstGeom>
        <a:solidFill>
          <a:schemeClr val="accent4">
            <a:tint val="40000"/>
            <a:alpha val="90000"/>
            <a:hueOff val="5577458"/>
            <a:satOff val="19029"/>
            <a:lumOff val="8139"/>
            <a:alphaOff val="0"/>
          </a:schemeClr>
        </a:solidFill>
        <a:ln w="25400" cap="flat" cmpd="sng" algn="ctr">
          <a:solidFill>
            <a:schemeClr val="accent4">
              <a:tint val="40000"/>
              <a:alpha val="90000"/>
              <a:hueOff val="5577458"/>
              <a:satOff val="19029"/>
              <a:lumOff val="8139"/>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8684" tIns="138684" rIns="184912" bIns="208026" numCol="1" spcCol="1270" anchor="t" anchorCtr="0">
          <a:noAutofit/>
        </a:bodyPr>
        <a:lstStyle/>
        <a:p>
          <a:pPr marL="228600" lvl="1" indent="-228600" algn="l" defTabSz="1155700">
            <a:lnSpc>
              <a:spcPct val="90000"/>
            </a:lnSpc>
            <a:spcBef>
              <a:spcPct val="0"/>
            </a:spcBef>
            <a:spcAft>
              <a:spcPct val="15000"/>
            </a:spcAft>
            <a:buChar char="•"/>
          </a:pPr>
          <a:r>
            <a:rPr lang="en-US" sz="2600" kern="1200" dirty="0"/>
            <a:t>“Black” list, for:</a:t>
          </a:r>
        </a:p>
        <a:p>
          <a:pPr marL="457200" lvl="2" indent="-228600" algn="l" defTabSz="1155700">
            <a:lnSpc>
              <a:spcPct val="90000"/>
            </a:lnSpc>
            <a:spcBef>
              <a:spcPct val="0"/>
            </a:spcBef>
            <a:spcAft>
              <a:spcPct val="15000"/>
            </a:spcAft>
            <a:buChar char="•"/>
          </a:pPr>
          <a:r>
            <a:rPr lang="en-US" sz="2600" kern="1200" dirty="0"/>
            <a:t>Crime</a:t>
          </a:r>
        </a:p>
        <a:p>
          <a:pPr marL="457200" lvl="2" indent="-228600" algn="l" defTabSz="1155700">
            <a:lnSpc>
              <a:spcPct val="90000"/>
            </a:lnSpc>
            <a:spcBef>
              <a:spcPct val="0"/>
            </a:spcBef>
            <a:spcAft>
              <a:spcPct val="15000"/>
            </a:spcAft>
            <a:buChar char="•"/>
          </a:pPr>
          <a:r>
            <a:rPr lang="en-US" sz="2600" kern="1200" dirty="0"/>
            <a:t>Poor performance</a:t>
          </a:r>
        </a:p>
        <a:p>
          <a:pPr marL="228600" lvl="1" indent="-228600" algn="l" defTabSz="1155700">
            <a:lnSpc>
              <a:spcPct val="90000"/>
            </a:lnSpc>
            <a:spcBef>
              <a:spcPct val="0"/>
            </a:spcBef>
            <a:spcAft>
              <a:spcPct val="15000"/>
            </a:spcAft>
            <a:buChar char="•"/>
          </a:pPr>
          <a:r>
            <a:rPr lang="en-US" sz="2600" kern="1200" dirty="0"/>
            <a:t>“Black” list applies to vendor’s “branches”</a:t>
          </a:r>
        </a:p>
        <a:p>
          <a:pPr marL="228600" lvl="1" indent="-228600" algn="l" defTabSz="1155700">
            <a:lnSpc>
              <a:spcPct val="90000"/>
            </a:lnSpc>
            <a:spcBef>
              <a:spcPct val="0"/>
            </a:spcBef>
            <a:spcAft>
              <a:spcPct val="15000"/>
            </a:spcAft>
            <a:buChar char="•"/>
          </a:pPr>
          <a:r>
            <a:rPr lang="en-US" sz="2600" kern="1200" dirty="0"/>
            <a:t>“White” list looks more like simple registration</a:t>
          </a:r>
        </a:p>
      </dsp:txBody>
      <dsp:txXfrm>
        <a:off x="3079160" y="1260738"/>
        <a:ext cx="2698590" cy="5085112"/>
      </dsp:txXfrm>
    </dsp:sp>
    <dsp:sp modelId="{C3750E5D-B8B6-4E37-85C4-FF8FA966C67E}">
      <dsp:nvSpPr>
        <dsp:cNvPr id="0" name=""/>
        <dsp:cNvSpPr/>
      </dsp:nvSpPr>
      <dsp:spPr>
        <a:xfrm>
          <a:off x="6155553" y="356952"/>
          <a:ext cx="2698590" cy="903785"/>
        </a:xfrm>
        <a:prstGeom prst="rect">
          <a:avLst/>
        </a:prstGeom>
        <a:solidFill>
          <a:schemeClr val="accent4">
            <a:hueOff val="11142974"/>
            <a:satOff val="39624"/>
            <a:lumOff val="89608"/>
            <a:alphaOff val="0"/>
          </a:schemeClr>
        </a:solidFill>
        <a:ln w="25400" cap="flat" cmpd="sng" algn="ctr">
          <a:solidFill>
            <a:schemeClr val="accent4">
              <a:hueOff val="11142974"/>
              <a:satOff val="39624"/>
              <a:lumOff val="89608"/>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912" tIns="105664" rIns="184912" bIns="105664" numCol="1" spcCol="1270" anchor="ctr" anchorCtr="0">
          <a:noAutofit/>
        </a:bodyPr>
        <a:lstStyle/>
        <a:p>
          <a:pPr marL="0" lvl="0" indent="0" algn="ctr" defTabSz="1155700">
            <a:lnSpc>
              <a:spcPct val="90000"/>
            </a:lnSpc>
            <a:spcBef>
              <a:spcPct val="0"/>
            </a:spcBef>
            <a:spcAft>
              <a:spcPct val="35000"/>
            </a:spcAft>
            <a:buNone/>
          </a:pPr>
          <a:r>
            <a:rPr lang="en-US" sz="2600" kern="1200" dirty="0">
              <a:solidFill>
                <a:schemeClr val="tx1"/>
              </a:solidFill>
            </a:rPr>
            <a:t>Practices To Consider</a:t>
          </a:r>
        </a:p>
      </dsp:txBody>
      <dsp:txXfrm>
        <a:off x="6155553" y="356952"/>
        <a:ext cx="2698590" cy="903785"/>
      </dsp:txXfrm>
    </dsp:sp>
    <dsp:sp modelId="{B2C70EFF-4051-4816-AE4A-923F1EEA1C36}">
      <dsp:nvSpPr>
        <dsp:cNvPr id="0" name=""/>
        <dsp:cNvSpPr/>
      </dsp:nvSpPr>
      <dsp:spPr>
        <a:xfrm>
          <a:off x="6155553" y="1260738"/>
          <a:ext cx="2698590" cy="5085112"/>
        </a:xfrm>
        <a:prstGeom prst="rect">
          <a:avLst/>
        </a:prstGeom>
        <a:solidFill>
          <a:schemeClr val="accent4">
            <a:tint val="40000"/>
            <a:alpha val="90000"/>
            <a:hueOff val="11154917"/>
            <a:satOff val="38059"/>
            <a:lumOff val="16277"/>
            <a:alphaOff val="0"/>
          </a:schemeClr>
        </a:solidFill>
        <a:ln w="25400" cap="flat" cmpd="sng" algn="ctr">
          <a:solidFill>
            <a:schemeClr val="accent4">
              <a:tint val="40000"/>
              <a:alpha val="90000"/>
              <a:hueOff val="11154917"/>
              <a:satOff val="38059"/>
              <a:lumOff val="1627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en-US" sz="1800" kern="1200" dirty="0"/>
            <a:t>Integrating vendor information into (1) </a:t>
          </a:r>
          <a:r>
            <a:rPr lang="en-US" sz="1800" b="1" kern="1200" dirty="0"/>
            <a:t>qualification</a:t>
          </a:r>
          <a:r>
            <a:rPr lang="en-US" sz="1800" kern="1200" dirty="0"/>
            <a:t>, (2) </a:t>
          </a:r>
          <a:r>
            <a:rPr lang="en-US" sz="1800" b="1" kern="1200" dirty="0"/>
            <a:t>exclusion</a:t>
          </a:r>
          <a:r>
            <a:rPr lang="en-US" sz="1800" kern="1200" dirty="0"/>
            <a:t>, and (3) </a:t>
          </a:r>
          <a:r>
            <a:rPr lang="en-US" sz="1800" b="1" kern="1200" dirty="0"/>
            <a:t>past performance </a:t>
          </a:r>
          <a:r>
            <a:rPr lang="en-US" sz="1800" kern="1200" dirty="0"/>
            <a:t>evaluations</a:t>
          </a:r>
        </a:p>
        <a:p>
          <a:pPr marL="171450" lvl="1" indent="-171450" algn="l" defTabSz="800100">
            <a:lnSpc>
              <a:spcPct val="90000"/>
            </a:lnSpc>
            <a:spcBef>
              <a:spcPct val="0"/>
            </a:spcBef>
            <a:spcAft>
              <a:spcPct val="15000"/>
            </a:spcAft>
            <a:buChar char="•"/>
          </a:pPr>
          <a:r>
            <a:rPr lang="en-US" sz="1800" kern="1200" dirty="0"/>
            <a:t>Consider sharing </a:t>
          </a:r>
          <a:r>
            <a:rPr lang="en-US" sz="1800" b="1" kern="1200" dirty="0"/>
            <a:t>information internationally</a:t>
          </a:r>
        </a:p>
        <a:p>
          <a:pPr marL="171450" lvl="1" indent="-171450" algn="l" defTabSz="800100">
            <a:lnSpc>
              <a:spcPct val="90000"/>
            </a:lnSpc>
            <a:spcBef>
              <a:spcPct val="0"/>
            </a:spcBef>
            <a:spcAft>
              <a:spcPct val="15000"/>
            </a:spcAft>
            <a:buChar char="•"/>
          </a:pPr>
          <a:r>
            <a:rPr lang="en-US" sz="1800" b="1" kern="1200" dirty="0"/>
            <a:t>Approach</a:t>
          </a:r>
          <a:r>
            <a:rPr lang="en-US" sz="1800" kern="1200" dirty="0"/>
            <a:t>:  assessing </a:t>
          </a:r>
          <a:r>
            <a:rPr lang="en-US" sz="1800" b="1" kern="1200" dirty="0"/>
            <a:t>performance and reputational risks</a:t>
          </a:r>
        </a:p>
        <a:p>
          <a:pPr marL="171450" lvl="1" indent="-171450" algn="l" defTabSz="800100">
            <a:lnSpc>
              <a:spcPct val="90000"/>
            </a:lnSpc>
            <a:spcBef>
              <a:spcPct val="0"/>
            </a:spcBef>
            <a:spcAft>
              <a:spcPct val="15000"/>
            </a:spcAft>
            <a:buChar char="•"/>
          </a:pPr>
          <a:r>
            <a:rPr lang="en-US" sz="1800" kern="1200" dirty="0"/>
            <a:t>Limiting exclusion to </a:t>
          </a:r>
          <a:r>
            <a:rPr lang="en-US" sz="1800" b="1" kern="1200" dirty="0"/>
            <a:t>affiliates with shared compliance</a:t>
          </a:r>
        </a:p>
        <a:p>
          <a:pPr marL="171450" lvl="1" indent="-171450" algn="l" defTabSz="800100">
            <a:lnSpc>
              <a:spcPct val="90000"/>
            </a:lnSpc>
            <a:spcBef>
              <a:spcPct val="0"/>
            </a:spcBef>
            <a:spcAft>
              <a:spcPct val="15000"/>
            </a:spcAft>
            <a:buChar char="•"/>
          </a:pPr>
          <a:r>
            <a:rPr lang="en-US" sz="1800" b="0" kern="1200" dirty="0"/>
            <a:t>Clarifying </a:t>
          </a:r>
          <a:r>
            <a:rPr lang="en-US" sz="1800" b="1" kern="1200" dirty="0"/>
            <a:t>compliance “self-cleaning” </a:t>
          </a:r>
          <a:r>
            <a:rPr lang="en-US" sz="1800" b="0" kern="1200" dirty="0"/>
            <a:t>measures</a:t>
          </a:r>
        </a:p>
      </dsp:txBody>
      <dsp:txXfrm>
        <a:off x="6155553" y="1260738"/>
        <a:ext cx="2698590" cy="508511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32B914-CFAA-4486-ACA3-C5BFFB290C9A}">
      <dsp:nvSpPr>
        <dsp:cNvPr id="0" name=""/>
        <dsp:cNvSpPr/>
      </dsp:nvSpPr>
      <dsp:spPr>
        <a:xfrm>
          <a:off x="2106502" y="1637297"/>
          <a:ext cx="1425797" cy="1425797"/>
        </a:xfrm>
        <a:prstGeom prst="ellips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b="1" kern="1200" dirty="0">
              <a:solidFill>
                <a:schemeClr val="tx1"/>
              </a:solidFill>
            </a:rPr>
            <a:t>Suspension and Debarment Official</a:t>
          </a:r>
        </a:p>
      </dsp:txBody>
      <dsp:txXfrm>
        <a:off x="2315305" y="1846100"/>
        <a:ext cx="1008191" cy="1008191"/>
      </dsp:txXfrm>
    </dsp:sp>
    <dsp:sp modelId="{06101629-35E4-45AF-B2F6-AB0C250EB019}">
      <dsp:nvSpPr>
        <dsp:cNvPr id="0" name=""/>
        <dsp:cNvSpPr/>
      </dsp:nvSpPr>
      <dsp:spPr>
        <a:xfrm rot="12844193">
          <a:off x="1235912" y="1425012"/>
          <a:ext cx="1031762"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C512AB-68B8-4B7F-BF99-C9290B711482}">
      <dsp:nvSpPr>
        <dsp:cNvPr id="0" name=""/>
        <dsp:cNvSpPr/>
      </dsp:nvSpPr>
      <dsp:spPr>
        <a:xfrm>
          <a:off x="647206" y="797387"/>
          <a:ext cx="1354507" cy="1083606"/>
        </a:xfrm>
        <a:prstGeom prst="roundRect">
          <a:avLst>
            <a:gd name="adj" fmla="val 10000"/>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Investigators/ Prosecutors</a:t>
          </a:r>
        </a:p>
      </dsp:txBody>
      <dsp:txXfrm>
        <a:off x="678944" y="829125"/>
        <a:ext cx="1291031" cy="1020130"/>
      </dsp:txXfrm>
    </dsp:sp>
    <dsp:sp modelId="{E14F508D-D072-4528-9509-213E77BB4E76}">
      <dsp:nvSpPr>
        <dsp:cNvPr id="0" name=""/>
        <dsp:cNvSpPr/>
      </dsp:nvSpPr>
      <dsp:spPr>
        <a:xfrm rot="16267787">
          <a:off x="2327351" y="856635"/>
          <a:ext cx="1034996"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07DE881-6334-4B4D-8D95-4A41B9595F68}">
      <dsp:nvSpPr>
        <dsp:cNvPr id="0" name=""/>
        <dsp:cNvSpPr/>
      </dsp:nvSpPr>
      <dsp:spPr>
        <a:xfrm>
          <a:off x="2177799" y="611"/>
          <a:ext cx="1354507" cy="1083606"/>
        </a:xfrm>
        <a:prstGeom prst="roundRect">
          <a:avLst>
            <a:gd name="adj" fmla="val 10000"/>
          </a:avLst>
        </a:prstGeom>
        <a:solidFill>
          <a:srgbClr val="7030A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mpetitors</a:t>
          </a:r>
        </a:p>
      </dsp:txBody>
      <dsp:txXfrm>
        <a:off x="2209537" y="32349"/>
        <a:ext cx="1291031" cy="1020130"/>
      </dsp:txXfrm>
    </dsp:sp>
    <dsp:sp modelId="{76AADDC1-0743-4ED1-B93A-17B272BE91D5}">
      <dsp:nvSpPr>
        <dsp:cNvPr id="0" name=""/>
        <dsp:cNvSpPr/>
      </dsp:nvSpPr>
      <dsp:spPr>
        <a:xfrm rot="19629472">
          <a:off x="3384610" y="1431034"/>
          <a:ext cx="1087981" cy="406352"/>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ADCB3-5AA5-4846-B940-7EC6D829C8F8}">
      <dsp:nvSpPr>
        <dsp:cNvPr id="0" name=""/>
        <dsp:cNvSpPr/>
      </dsp:nvSpPr>
      <dsp:spPr>
        <a:xfrm>
          <a:off x="3708391" y="797387"/>
          <a:ext cx="1354507" cy="1083606"/>
        </a:xfrm>
        <a:prstGeom prst="roundRect">
          <a:avLst>
            <a:gd name="adj" fmla="val 10000"/>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ontracting Officers</a:t>
          </a:r>
        </a:p>
      </dsp:txBody>
      <dsp:txXfrm>
        <a:off x="3740129" y="829125"/>
        <a:ext cx="1291031" cy="102013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C987C07-D2F5-42F4-B915-A8C514492DAF}">
      <dsp:nvSpPr>
        <dsp:cNvPr id="0" name=""/>
        <dsp:cNvSpPr/>
      </dsp:nvSpPr>
      <dsp:spPr>
        <a:xfrm>
          <a:off x="1413498" y="100535"/>
          <a:ext cx="2602053" cy="4166664"/>
        </a:xfrm>
        <a:prstGeom prst="triangl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CD7B9B62-E282-4A93-9E42-9CFA1558D6E9}">
      <dsp:nvSpPr>
        <dsp:cNvPr id="0" name=""/>
        <dsp:cNvSpPr/>
      </dsp:nvSpPr>
      <dsp:spPr>
        <a:xfrm>
          <a:off x="2666999" y="1524005"/>
          <a:ext cx="2228319" cy="823165"/>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2060"/>
              </a:solidFill>
              <a:latin typeface="+mj-lt"/>
            </a:rPr>
            <a:t>Sanctions Board</a:t>
          </a:r>
        </a:p>
      </dsp:txBody>
      <dsp:txXfrm>
        <a:off x="2707183" y="1564189"/>
        <a:ext cx="2147951" cy="742797"/>
      </dsp:txXfrm>
    </dsp:sp>
    <dsp:sp modelId="{F987B699-42D8-476B-9CCC-EE77BB9D52A6}">
      <dsp:nvSpPr>
        <dsp:cNvPr id="0" name=""/>
        <dsp:cNvSpPr/>
      </dsp:nvSpPr>
      <dsp:spPr>
        <a:xfrm>
          <a:off x="2586631" y="2936195"/>
          <a:ext cx="2313831" cy="1112299"/>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rgbClr val="002060"/>
              </a:solidFill>
              <a:latin typeface="+mj-lt"/>
            </a:rPr>
            <a:t>Suspension and Debarment Officer (SDO)</a:t>
          </a:r>
        </a:p>
      </dsp:txBody>
      <dsp:txXfrm>
        <a:off x="2640929" y="2990493"/>
        <a:ext cx="2205235" cy="1003703"/>
      </dsp:txXfrm>
    </dsp:sp>
    <dsp:sp modelId="{37BFC09F-9B80-4D79-A854-28CD2DD9B77B}">
      <dsp:nvSpPr>
        <dsp:cNvPr id="0" name=""/>
        <dsp:cNvSpPr/>
      </dsp:nvSpPr>
      <dsp:spPr>
        <a:xfrm>
          <a:off x="2726744" y="76201"/>
          <a:ext cx="1997659" cy="925103"/>
        </a:xfrm>
        <a:prstGeom prst="round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solidFill>
                <a:srgbClr val="002060"/>
              </a:solidFill>
              <a:latin typeface="+mj-lt"/>
            </a:rPr>
            <a:t>Integrity Compliance </a:t>
          </a:r>
        </a:p>
        <a:p>
          <a:pPr marL="0" lvl="0" indent="0" algn="ctr" defTabSz="622300">
            <a:lnSpc>
              <a:spcPct val="90000"/>
            </a:lnSpc>
            <a:spcBef>
              <a:spcPct val="0"/>
            </a:spcBef>
            <a:spcAft>
              <a:spcPct val="35000"/>
            </a:spcAft>
            <a:buNone/>
          </a:pPr>
          <a:r>
            <a:rPr lang="en-US" sz="1400" b="1" kern="1200" dirty="0">
              <a:solidFill>
                <a:schemeClr val="tx1"/>
              </a:solidFill>
              <a:latin typeface="+mj-lt"/>
            </a:rPr>
            <a:t>Officers (within INT)</a:t>
          </a:r>
        </a:p>
      </dsp:txBody>
      <dsp:txXfrm>
        <a:off x="2771904" y="121361"/>
        <a:ext cx="1907339" cy="83478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A9DF71-2A83-4D51-8093-BD8FA5185F8A}">
      <dsp:nvSpPr>
        <dsp:cNvPr id="0" name=""/>
        <dsp:cNvSpPr/>
      </dsp:nvSpPr>
      <dsp:spPr>
        <a:xfrm rot="16200000">
          <a:off x="-1332542" y="1332542"/>
          <a:ext cx="4408264" cy="1743178"/>
        </a:xfrm>
        <a:prstGeom prst="flowChartManualOperation">
          <a:avLst/>
        </a:prstGeom>
        <a:solidFill>
          <a:srgbClr val="FFFF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solidFill>
                <a:srgbClr val="002060"/>
              </a:solidFill>
            </a:rPr>
            <a:t>Responsibility (Qualification)</a:t>
          </a:r>
          <a:endParaRPr lang="de-AT" sz="1700" b="1" kern="1200" dirty="0">
            <a:solidFill>
              <a:srgbClr val="002060"/>
            </a:solidFill>
          </a:endParaRPr>
        </a:p>
        <a:p>
          <a:pPr marL="114300" lvl="1" indent="-114300" algn="l" defTabSz="577850">
            <a:lnSpc>
              <a:spcPct val="90000"/>
            </a:lnSpc>
            <a:spcBef>
              <a:spcPct val="0"/>
            </a:spcBef>
            <a:spcAft>
              <a:spcPct val="15000"/>
            </a:spcAft>
            <a:buChar char="•"/>
          </a:pPr>
          <a:r>
            <a:rPr lang="en-US" sz="1300" b="1" kern="1200" dirty="0">
              <a:solidFill>
                <a:srgbClr val="002060"/>
              </a:solidFill>
            </a:rPr>
            <a:t>On a case-by-case basis</a:t>
          </a:r>
          <a:endParaRPr lang="de-AT" sz="1300" b="1" kern="1200" dirty="0">
            <a:solidFill>
              <a:srgbClr val="002060"/>
            </a:solidFill>
          </a:endParaRPr>
        </a:p>
        <a:p>
          <a:pPr marL="114300" lvl="1" indent="-114300" algn="l" defTabSz="577850">
            <a:lnSpc>
              <a:spcPct val="90000"/>
            </a:lnSpc>
            <a:spcBef>
              <a:spcPct val="0"/>
            </a:spcBef>
            <a:spcAft>
              <a:spcPct val="15000"/>
            </a:spcAft>
            <a:buChar char="•"/>
          </a:pPr>
          <a:r>
            <a:rPr lang="en-US" sz="1300" b="1" kern="1200" dirty="0">
              <a:solidFill>
                <a:srgbClr val="002060"/>
              </a:solidFill>
            </a:rPr>
            <a:t>In U.S. – done by contracting officer</a:t>
          </a:r>
        </a:p>
        <a:p>
          <a:pPr marL="114300" lvl="1" indent="-114300" algn="l" defTabSz="577850">
            <a:lnSpc>
              <a:spcPct val="90000"/>
            </a:lnSpc>
            <a:spcBef>
              <a:spcPct val="0"/>
            </a:spcBef>
            <a:spcAft>
              <a:spcPct val="15000"/>
            </a:spcAft>
            <a:buChar char="•"/>
          </a:pPr>
          <a:r>
            <a:rPr lang="en-US" sz="1300" b="1" kern="1200" dirty="0">
              <a:solidFill>
                <a:srgbClr val="002060"/>
              </a:solidFill>
            </a:rPr>
            <a:t>Allowed by new EU Directives, 2014/24/EU Art. 57</a:t>
          </a:r>
        </a:p>
      </dsp:txBody>
      <dsp:txXfrm rot="5400000">
        <a:off x="1" y="881652"/>
        <a:ext cx="1743178" cy="2644958"/>
      </dsp:txXfrm>
    </dsp:sp>
    <dsp:sp modelId="{A439761D-2347-453B-8972-8712BB3BC23A}">
      <dsp:nvSpPr>
        <dsp:cNvPr id="0" name=""/>
        <dsp:cNvSpPr/>
      </dsp:nvSpPr>
      <dsp:spPr>
        <a:xfrm rot="16200000">
          <a:off x="543149" y="1332542"/>
          <a:ext cx="4408264" cy="1743178"/>
        </a:xfrm>
        <a:prstGeom prst="flowChartManualOperation">
          <a:avLst/>
        </a:prstGeom>
        <a:solidFill>
          <a:srgbClr val="FF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solidFill>
                <a:schemeClr val="bg1"/>
              </a:solidFill>
            </a:rPr>
            <a:t>Discretionary Debarment – U.S. Federal</a:t>
          </a:r>
          <a:endParaRPr lang="de-AT" sz="1700" b="1" kern="1200" dirty="0">
            <a:solidFill>
              <a:schemeClr val="bg1"/>
            </a:solidFill>
          </a:endParaRPr>
        </a:p>
        <a:p>
          <a:pPr marL="114300" lvl="1" indent="-114300" algn="l" defTabSz="577850">
            <a:lnSpc>
              <a:spcPct val="90000"/>
            </a:lnSpc>
            <a:spcBef>
              <a:spcPct val="0"/>
            </a:spcBef>
            <a:spcAft>
              <a:spcPct val="15000"/>
            </a:spcAft>
            <a:buChar char="•"/>
          </a:pPr>
          <a:r>
            <a:rPr lang="en-US" sz="1300" b="1" kern="1200" dirty="0">
              <a:solidFill>
                <a:schemeClr val="bg1"/>
              </a:solidFill>
            </a:rPr>
            <a:t>Based on “present responsibility”:  focus on present status</a:t>
          </a:r>
          <a:endParaRPr lang="de-AT" sz="1300" b="1" kern="1200" dirty="0">
            <a:solidFill>
              <a:schemeClr val="bg1"/>
            </a:solidFill>
          </a:endParaRPr>
        </a:p>
        <a:p>
          <a:pPr marL="114300" lvl="1" indent="-114300" algn="l" defTabSz="577850">
            <a:lnSpc>
              <a:spcPct val="90000"/>
            </a:lnSpc>
            <a:spcBef>
              <a:spcPct val="0"/>
            </a:spcBef>
            <a:spcAft>
              <a:spcPct val="15000"/>
            </a:spcAft>
            <a:buChar char="•"/>
          </a:pPr>
          <a:r>
            <a:rPr lang="en-US" sz="1300" b="1" kern="1200" dirty="0">
              <a:solidFill>
                <a:schemeClr val="bg1"/>
              </a:solidFill>
            </a:rPr>
            <a:t>Debarment is a cross-government determination</a:t>
          </a:r>
          <a:r>
            <a:rPr lang="en-US" sz="1300" b="1" kern="1200" dirty="0">
              <a:solidFill>
                <a:schemeClr val="tx1"/>
              </a:solidFill>
            </a:rPr>
            <a:t> </a:t>
          </a:r>
        </a:p>
      </dsp:txBody>
      <dsp:txXfrm rot="5400000">
        <a:off x="1875692" y="881652"/>
        <a:ext cx="1743178" cy="2644958"/>
      </dsp:txXfrm>
    </dsp:sp>
    <dsp:sp modelId="{6F2556ED-9B3F-4998-8908-52E19B6D9D2B}">
      <dsp:nvSpPr>
        <dsp:cNvPr id="0" name=""/>
        <dsp:cNvSpPr/>
      </dsp:nvSpPr>
      <dsp:spPr>
        <a:xfrm rot="16200000">
          <a:off x="2417066" y="1332542"/>
          <a:ext cx="4408264" cy="1743178"/>
        </a:xfrm>
        <a:prstGeom prst="flowChartManualOperation">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t" anchorCtr="0">
          <a:noAutofit/>
        </a:bodyPr>
        <a:lstStyle/>
        <a:p>
          <a:pPr marL="0" lvl="0" indent="0" algn="l" defTabSz="755650">
            <a:lnSpc>
              <a:spcPct val="90000"/>
            </a:lnSpc>
            <a:spcBef>
              <a:spcPct val="0"/>
            </a:spcBef>
            <a:spcAft>
              <a:spcPct val="35000"/>
            </a:spcAft>
            <a:buNone/>
          </a:pPr>
          <a:r>
            <a:rPr lang="en-US" sz="1700" b="1" kern="1200" dirty="0"/>
            <a:t>Adjudicative Debarment for “Bad Acts”</a:t>
          </a:r>
          <a:r>
            <a:rPr lang="en-US" sz="1700" b="1" kern="1200" dirty="0">
              <a:solidFill>
                <a:schemeClr val="bg1">
                  <a:lumMod val="50000"/>
                </a:schemeClr>
              </a:solidFill>
            </a:rPr>
            <a:t>”</a:t>
          </a:r>
          <a:endParaRPr lang="de-AT" sz="1700" b="1" kern="1200" dirty="0"/>
        </a:p>
        <a:p>
          <a:pPr marL="114300" lvl="1" indent="-114300" algn="l" defTabSz="577850">
            <a:lnSpc>
              <a:spcPct val="90000"/>
            </a:lnSpc>
            <a:spcBef>
              <a:spcPct val="0"/>
            </a:spcBef>
            <a:spcAft>
              <a:spcPct val="15000"/>
            </a:spcAft>
            <a:buChar char="•"/>
          </a:pPr>
          <a:r>
            <a:rPr lang="en-US" sz="1300" b="1" kern="1200" dirty="0"/>
            <a:t>E.g., World Bank</a:t>
          </a:r>
          <a:endParaRPr lang="de-AT" sz="1300" b="1" kern="1200" dirty="0"/>
        </a:p>
      </dsp:txBody>
      <dsp:txXfrm rot="5400000">
        <a:off x="3749609" y="881652"/>
        <a:ext cx="1743178" cy="2644958"/>
      </dsp:txXfrm>
    </dsp:sp>
    <dsp:sp modelId="{0EE74FE0-765F-4A40-97BB-070899B50E63}">
      <dsp:nvSpPr>
        <dsp:cNvPr id="0" name=""/>
        <dsp:cNvSpPr/>
      </dsp:nvSpPr>
      <dsp:spPr>
        <a:xfrm rot="16200000">
          <a:off x="4290982" y="1332542"/>
          <a:ext cx="4408264" cy="1743178"/>
        </a:xfrm>
        <a:prstGeom prst="flowChartManualOperation">
          <a:avLst/>
        </a:prstGeom>
        <a:solidFill>
          <a:srgbClr val="0066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7950" tIns="0" rIns="109292" bIns="0" numCol="1" spcCol="1270" anchor="ctr" anchorCtr="0">
          <a:noAutofit/>
        </a:bodyPr>
        <a:lstStyle/>
        <a:p>
          <a:pPr marL="0" lvl="0" indent="0" algn="ctr" defTabSz="755650">
            <a:lnSpc>
              <a:spcPct val="90000"/>
            </a:lnSpc>
            <a:spcBef>
              <a:spcPct val="0"/>
            </a:spcBef>
            <a:spcAft>
              <a:spcPct val="35000"/>
            </a:spcAft>
            <a:buNone/>
          </a:pPr>
          <a:r>
            <a:rPr lang="en-US" sz="1700" b="1" kern="1200" dirty="0">
              <a:solidFill>
                <a:schemeClr val="bg1"/>
              </a:solidFill>
            </a:rPr>
            <a:t>Court-Ordered Debarment, After Judicial Proceedings</a:t>
          </a:r>
          <a:endParaRPr lang="de-AT" sz="1700" kern="1200" dirty="0">
            <a:solidFill>
              <a:schemeClr val="bg1"/>
            </a:solidFill>
          </a:endParaRPr>
        </a:p>
      </dsp:txBody>
      <dsp:txXfrm rot="5400000">
        <a:off x="5623525" y="881652"/>
        <a:ext cx="1743178" cy="2644958"/>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9.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w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4CE963-EB8A-4F8A-9524-6BBBEF8DCB8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hr-HR"/>
          </a:p>
        </p:txBody>
      </p:sp>
      <p:sp>
        <p:nvSpPr>
          <p:cNvPr id="3" name="Date Placeholder 2">
            <a:extLst>
              <a:ext uri="{FF2B5EF4-FFF2-40B4-BE49-F238E27FC236}">
                <a16:creationId xmlns:a16="http://schemas.microsoft.com/office/drawing/2014/main" id="{64C405D7-1463-46C5-A83B-B0E78900D5D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9EAE786-478A-4FEA-9F7F-9D1637D05AEB}" type="datetimeFigureOut">
              <a:rPr lang="hr-HR" smtClean="0"/>
              <a:t>23.10.2019.</a:t>
            </a:fld>
            <a:endParaRPr lang="hr-HR"/>
          </a:p>
        </p:txBody>
      </p:sp>
      <p:sp>
        <p:nvSpPr>
          <p:cNvPr id="4" name="Footer Placeholder 3">
            <a:extLst>
              <a:ext uri="{FF2B5EF4-FFF2-40B4-BE49-F238E27FC236}">
                <a16:creationId xmlns:a16="http://schemas.microsoft.com/office/drawing/2014/main" id="{CDD993F9-E194-4DDA-8B7C-43A72BD6EDA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hr-HR"/>
          </a:p>
        </p:txBody>
      </p:sp>
      <p:sp>
        <p:nvSpPr>
          <p:cNvPr id="5" name="Slide Number Placeholder 4">
            <a:extLst>
              <a:ext uri="{FF2B5EF4-FFF2-40B4-BE49-F238E27FC236}">
                <a16:creationId xmlns:a16="http://schemas.microsoft.com/office/drawing/2014/main" id="{4C03FE5B-ABC5-4E5E-9C12-905EF1EA451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E404EE9-E6E0-4B75-B1C7-1595BFECA147}" type="slidenum">
              <a:rPr lang="hr-HR" smtClean="0"/>
              <a:t>‹#›</a:t>
            </a:fld>
            <a:endParaRPr lang="hr-HR"/>
          </a:p>
        </p:txBody>
      </p:sp>
    </p:spTree>
    <p:extLst>
      <p:ext uri="{BB962C8B-B14F-4D97-AF65-F5344CB8AC3E}">
        <p14:creationId xmlns:p14="http://schemas.microsoft.com/office/powerpoint/2010/main" val="157795694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AT"/>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8EFD0E-0B5C-4D2B-BABA-B6CB031C7B63}" type="datetimeFigureOut">
              <a:rPr lang="de-AT" smtClean="0"/>
              <a:t>23.10.2019</a:t>
            </a:fld>
            <a:endParaRPr lang="de-AT"/>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AT"/>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AT"/>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AT"/>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AED377-4907-4B49-98B2-EF9CB3A7EC3A}" type="slidenum">
              <a:rPr lang="de-AT" smtClean="0"/>
              <a:t>‹#›</a:t>
            </a:fld>
            <a:endParaRPr lang="de-AT"/>
          </a:p>
        </p:txBody>
      </p:sp>
    </p:spTree>
    <p:extLst>
      <p:ext uri="{BB962C8B-B14F-4D97-AF65-F5344CB8AC3E}">
        <p14:creationId xmlns:p14="http://schemas.microsoft.com/office/powerpoint/2010/main" val="5423866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opengovpartnership.org/documents/georgia-action-plan-2018-2019/"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a:xfrm>
            <a:off x="381000" y="685800"/>
            <a:ext cx="6096000" cy="3429000"/>
          </a:xfrm>
          <a:ln/>
        </p:spPr>
      </p:sp>
      <p:sp>
        <p:nvSpPr>
          <p:cNvPr id="1300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dirty="0">
              <a:latin typeface="Arial" pitchFamily="34" charset="0"/>
            </a:endParaRPr>
          </a:p>
        </p:txBody>
      </p:sp>
      <p:sp>
        <p:nvSpPr>
          <p:cNvPr id="1300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D5A0001A-B70A-41B4-B514-F70913E59153}" type="slidenum">
              <a:rPr lang="en-US" altLang="en-US">
                <a:solidFill>
                  <a:prstClr val="black"/>
                </a:solidFill>
                <a:latin typeface="Arial" pitchFamily="34" charset="0"/>
              </a:rPr>
              <a:pPr/>
              <a:t>5</a:t>
            </a:fld>
            <a:endParaRPr lang="en-US" altLang="en-US">
              <a:solidFill>
                <a:prstClr val="black"/>
              </a:solidFill>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AED377-4907-4B49-98B2-EF9CB3A7EC3A}" type="slidenum">
              <a:rPr lang="de-AT" smtClean="0"/>
              <a:t>7</a:t>
            </a:fld>
            <a:endParaRPr lang="de-AT"/>
          </a:p>
        </p:txBody>
      </p:sp>
    </p:spTree>
    <p:extLst>
      <p:ext uri="{BB962C8B-B14F-4D97-AF65-F5344CB8AC3E}">
        <p14:creationId xmlns:p14="http://schemas.microsoft.com/office/powerpoint/2010/main" val="13709921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www.opengovpartnership.org/documents/georgia-action-plan-2018-2019/</a:t>
            </a:r>
            <a:endParaRPr lang="en-US" dirty="0"/>
          </a:p>
        </p:txBody>
      </p:sp>
      <p:sp>
        <p:nvSpPr>
          <p:cNvPr id="4" name="Slide Number Placeholder 3"/>
          <p:cNvSpPr>
            <a:spLocks noGrp="1"/>
          </p:cNvSpPr>
          <p:nvPr>
            <p:ph type="sldNum" sz="quarter" idx="5"/>
          </p:nvPr>
        </p:nvSpPr>
        <p:spPr/>
        <p:txBody>
          <a:bodyPr/>
          <a:lstStyle/>
          <a:p>
            <a:fld id="{65405C25-7F49-4FE6-A3C6-9E970685ACEB}" type="slidenum">
              <a:rPr lang="en-US" smtClean="0"/>
              <a:t>9</a:t>
            </a:fld>
            <a:endParaRPr lang="en-US"/>
          </a:p>
        </p:txBody>
      </p:sp>
    </p:spTree>
    <p:extLst>
      <p:ext uri="{BB962C8B-B14F-4D97-AF65-F5344CB8AC3E}">
        <p14:creationId xmlns:p14="http://schemas.microsoft.com/office/powerpoint/2010/main" val="257692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6AED377-4907-4B49-98B2-EF9CB3A7EC3A}" type="slidenum">
              <a:rPr lang="de-AT" smtClean="0"/>
              <a:t>13</a:t>
            </a:fld>
            <a:endParaRPr lang="de-AT"/>
          </a:p>
        </p:txBody>
      </p:sp>
    </p:spTree>
    <p:extLst>
      <p:ext uri="{BB962C8B-B14F-4D97-AF65-F5344CB8AC3E}">
        <p14:creationId xmlns:p14="http://schemas.microsoft.com/office/powerpoint/2010/main" val="42247173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a:xfrm>
            <a:off x="381000" y="685800"/>
            <a:ext cx="6096000" cy="3429000"/>
          </a:xfrm>
          <a:ln/>
        </p:spPr>
      </p:sp>
      <p:sp>
        <p:nvSpPr>
          <p:cNvPr id="38915" name="Notes Placeholder 2"/>
          <p:cNvSpPr>
            <a:spLocks noGrp="1"/>
          </p:cNvSpPr>
          <p:nvPr>
            <p:ph type="body" idx="1"/>
          </p:nvPr>
        </p:nvSpPr>
        <p:spPr>
          <a:noFill/>
          <a:ln/>
        </p:spPr>
        <p:txBody>
          <a:bodyPr/>
          <a:lstStyle/>
          <a:p>
            <a:pPr>
              <a:spcBef>
                <a:spcPct val="0"/>
              </a:spcBef>
            </a:pPr>
            <a:r>
              <a:rPr lang="en-US">
                <a:latin typeface="Arial" pitchFamily="34" charset="0"/>
              </a:rPr>
              <a:t>Sources:</a:t>
            </a:r>
          </a:p>
          <a:p>
            <a:pPr>
              <a:spcBef>
                <a:spcPct val="0"/>
              </a:spcBef>
            </a:pPr>
            <a:endParaRPr lang="en-US">
              <a:latin typeface="Arial" pitchFamily="34" charset="0"/>
            </a:endParaRPr>
          </a:p>
          <a:p>
            <a:pPr>
              <a:spcBef>
                <a:spcPct val="0"/>
              </a:spcBef>
            </a:pPr>
            <a:r>
              <a:rPr lang="en-US">
                <a:latin typeface="Arial" pitchFamily="34" charset="0"/>
              </a:rPr>
              <a:t>Serious Fraud Office, </a:t>
            </a:r>
            <a:r>
              <a:rPr lang="en-US" i="1">
                <a:latin typeface="Arial" pitchFamily="34" charset="0"/>
              </a:rPr>
              <a:t>Approach of the Serious Fraud Office to Dealing with Overseas Corruption</a:t>
            </a:r>
            <a:r>
              <a:rPr lang="en-US">
                <a:latin typeface="Arial" pitchFamily="34" charset="0"/>
              </a:rPr>
              <a:t>, at 1 (2009), </a:t>
            </a:r>
            <a:r>
              <a:rPr lang="en-US" i="1">
                <a:latin typeface="Arial" pitchFamily="34" charset="0"/>
              </a:rPr>
              <a:t>available at http://www.sfo.gov.uk/media/28313/approach%20of%20the%20sfo%20to%20dealing%20with%20overseas%20corruption.pdf. </a:t>
            </a:r>
            <a:endParaRPr lang="en-US">
              <a:latin typeface="Arial" pitchFamily="34" charset="0"/>
            </a:endParaRPr>
          </a:p>
          <a:p>
            <a:pPr>
              <a:spcBef>
                <a:spcPct val="0"/>
              </a:spcBef>
            </a:pPr>
            <a:endParaRPr lang="en-US">
              <a:latin typeface="Arial" pitchFamily="34" charset="0"/>
            </a:endParaRPr>
          </a:p>
          <a:p>
            <a:pPr>
              <a:spcBef>
                <a:spcPct val="0"/>
              </a:spcBef>
            </a:pPr>
            <a:r>
              <a:rPr lang="en-US">
                <a:latin typeface="Arial" pitchFamily="34" charset="0"/>
              </a:rPr>
              <a:t>Lord Bach, </a:t>
            </a:r>
            <a:r>
              <a:rPr lang="en-US" i="1">
                <a:latin typeface="Arial" pitchFamily="34" charset="0"/>
              </a:rPr>
              <a:t>Letter to Lord Henley re: Bribery Bill -- “Adequate Procedures’ Guidance </a:t>
            </a:r>
            <a:r>
              <a:rPr lang="en-US">
                <a:latin typeface="Arial" pitchFamily="34" charset="0"/>
              </a:rPr>
              <a:t>(Dec. 2009), </a:t>
            </a:r>
            <a:r>
              <a:rPr lang="en-US" i="1">
                <a:latin typeface="Arial" pitchFamily="34" charset="0"/>
              </a:rPr>
              <a:t>http://www.justice.gov.uk/publications/docs/bach-letter-adequate-procedures-guidance.pdf</a:t>
            </a:r>
            <a:r>
              <a:rPr lang="en-US">
                <a:latin typeface="Arial" pitchFamily="34" charset="0"/>
              </a:rPr>
              <a:t>. </a:t>
            </a:r>
          </a:p>
          <a:p>
            <a:pPr>
              <a:spcBef>
                <a:spcPct val="0"/>
              </a:spcBef>
            </a:pPr>
            <a:endParaRPr lang="en-US">
              <a:latin typeface="Calibri" pitchFamily="34" charset="0"/>
            </a:endParaRPr>
          </a:p>
          <a:p>
            <a:pPr>
              <a:spcBef>
                <a:spcPct val="0"/>
              </a:spcBef>
            </a:pPr>
            <a:r>
              <a:rPr lang="en-US">
                <a:latin typeface="Calibri" pitchFamily="34" charset="0"/>
              </a:rPr>
              <a:t>Ministry of Justice, </a:t>
            </a:r>
            <a:r>
              <a:rPr lang="en-US" i="1">
                <a:latin typeface="Calibri" pitchFamily="34" charset="0"/>
              </a:rPr>
              <a:t>Consultation on Guidance About Commercial Organisations Preventing Bribery (Section 9 of the Bribery Act 2010)</a:t>
            </a:r>
            <a:endParaRPr lang="en-US">
              <a:latin typeface="Arial" pitchFamily="34" charset="0"/>
            </a:endParaRPr>
          </a:p>
        </p:txBody>
      </p:sp>
      <p:sp>
        <p:nvSpPr>
          <p:cNvPr id="38916" name="Slide Number Placeholder 3"/>
          <p:cNvSpPr>
            <a:spLocks noGrp="1"/>
          </p:cNvSpPr>
          <p:nvPr>
            <p:ph type="sldNum" sz="quarter" idx="5"/>
          </p:nvPr>
        </p:nvSpPr>
        <p:spPr>
          <a:noFill/>
        </p:spPr>
        <p:txBody>
          <a:bodyPr/>
          <a:lstStyle/>
          <a:p>
            <a:fld id="{C08CB1D4-8799-4A71-BF6F-6339AC21C2C1}" type="slidenum">
              <a:rPr lang="en-US" smtClean="0">
                <a:solidFill>
                  <a:prstClr val="black"/>
                </a:solidFill>
                <a:latin typeface="Arial" pitchFamily="34" charset="0"/>
              </a:rPr>
              <a:pPr/>
              <a:t>16</a:t>
            </a:fld>
            <a:endParaRPr lang="en-US">
              <a:solidFill>
                <a:prstClr val="black"/>
              </a:solidFill>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xfrm>
            <a:off x="381000" y="685800"/>
            <a:ext cx="6096000" cy="3429000"/>
          </a:xfrm>
          <a:ln/>
        </p:spPr>
      </p:sp>
      <p:sp>
        <p:nvSpPr>
          <p:cNvPr id="1331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latin typeface="Arial" pitchFamily="34" charset="0"/>
            </a:endParaRPr>
          </a:p>
        </p:txBody>
      </p:sp>
      <p:sp>
        <p:nvSpPr>
          <p:cNvPr id="1331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BE39A10C-694F-436B-8918-51C233A6DB6A}" type="slidenum">
              <a:rPr lang="en-US" altLang="en-US">
                <a:solidFill>
                  <a:prstClr val="black"/>
                </a:solidFill>
                <a:latin typeface="Arial" pitchFamily="34" charset="0"/>
              </a:rPr>
              <a:pPr/>
              <a:t>17</a:t>
            </a:fld>
            <a:endParaRPr lang="en-US" altLang="en-US">
              <a:solidFill>
                <a:prstClr val="black"/>
              </a:solidFill>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a:xfrm>
            <a:off x="381000" y="685800"/>
            <a:ext cx="6096000" cy="3429000"/>
          </a:xfrm>
          <a:ln/>
        </p:spPr>
      </p:sp>
      <p:sp>
        <p:nvSpPr>
          <p:cNvPr id="13517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eaLnBrk="1" hangingPunct="1"/>
            <a:r>
              <a:rPr lang="en-US" altLang="en-US">
                <a:latin typeface="Arial" pitchFamily="34" charset="0"/>
              </a:rPr>
              <a:t>United States  </a:t>
            </a:r>
          </a:p>
          <a:p>
            <a:pPr algn="ctr" eaLnBrk="1" hangingPunct="1"/>
            <a:r>
              <a:rPr lang="en-US" altLang="en-US">
                <a:latin typeface="Arial" pitchFamily="34" charset="0"/>
              </a:rPr>
              <a:t>FAR 9.401-1</a:t>
            </a:r>
          </a:p>
          <a:p>
            <a:pPr algn="ctr" eaLnBrk="1" hangingPunct="1"/>
            <a:endParaRPr lang="en-US" altLang="en-US">
              <a:latin typeface="Arial" pitchFamily="34" charset="0"/>
            </a:endParaRPr>
          </a:p>
          <a:p>
            <a:pPr algn="ctr" eaLnBrk="1" hangingPunct="1"/>
            <a:r>
              <a:rPr lang="en-US" altLang="en-US">
                <a:latin typeface="Arial" pitchFamily="34" charset="0"/>
              </a:rPr>
              <a:t>UNCITRAL </a:t>
            </a:r>
          </a:p>
          <a:p>
            <a:pPr algn="ctr" eaLnBrk="1" hangingPunct="1"/>
            <a:r>
              <a:rPr lang="en-US" altLang="en-US">
                <a:latin typeface="Arial" pitchFamily="34" charset="0"/>
              </a:rPr>
              <a:t>Art.  9</a:t>
            </a:r>
          </a:p>
          <a:p>
            <a:pPr algn="ctr" eaLnBrk="1" hangingPunct="1"/>
            <a:endParaRPr lang="en-US" altLang="en-US">
              <a:latin typeface="Arial" pitchFamily="34" charset="0"/>
            </a:endParaRPr>
          </a:p>
          <a:p>
            <a:pPr eaLnBrk="1" hangingPunct="1"/>
            <a:endParaRPr lang="en-US" altLang="en-US">
              <a:latin typeface="Arial" pitchFamily="34" charset="0"/>
            </a:endParaRPr>
          </a:p>
        </p:txBody>
      </p:sp>
      <p:sp>
        <p:nvSpPr>
          <p:cNvPr id="13517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10D45177-880B-4252-B3DD-F8A8CE08BF85}" type="slidenum">
              <a:rPr lang="en-US" altLang="en-US">
                <a:solidFill>
                  <a:prstClr val="black"/>
                </a:solidFill>
                <a:latin typeface="Arial" pitchFamily="34" charset="0"/>
              </a:rPr>
              <a:pPr/>
              <a:t>23</a:t>
            </a:fld>
            <a:endParaRPr lang="en-US" altLang="en-US">
              <a:solidFill>
                <a:prstClr val="black"/>
              </a:solidFill>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4875">
              <a:defRPr>
                <a:solidFill>
                  <a:schemeClr val="tx1"/>
                </a:solidFill>
                <a:latin typeface="Garamond" pitchFamily="18" charset="0"/>
              </a:defRPr>
            </a:lvl1pPr>
            <a:lvl2pPr marL="742950" indent="-285750" defTabSz="904875">
              <a:defRPr>
                <a:solidFill>
                  <a:schemeClr val="tx1"/>
                </a:solidFill>
                <a:latin typeface="Garamond" pitchFamily="18" charset="0"/>
              </a:defRPr>
            </a:lvl2pPr>
            <a:lvl3pPr marL="1143000" indent="-228600" defTabSz="904875">
              <a:defRPr>
                <a:solidFill>
                  <a:schemeClr val="tx1"/>
                </a:solidFill>
                <a:latin typeface="Garamond" pitchFamily="18" charset="0"/>
              </a:defRPr>
            </a:lvl3pPr>
            <a:lvl4pPr marL="1600200" indent="-228600" defTabSz="904875">
              <a:defRPr>
                <a:solidFill>
                  <a:schemeClr val="tx1"/>
                </a:solidFill>
                <a:latin typeface="Garamond" pitchFamily="18" charset="0"/>
              </a:defRPr>
            </a:lvl4pPr>
            <a:lvl5pPr marL="2057400" indent="-228600" defTabSz="904875">
              <a:defRPr>
                <a:solidFill>
                  <a:schemeClr val="tx1"/>
                </a:solidFill>
                <a:latin typeface="Garamond" pitchFamily="18" charset="0"/>
              </a:defRPr>
            </a:lvl5pPr>
            <a:lvl6pPr marL="2514600" indent="-228600" defTabSz="904875" eaLnBrk="0" fontAlgn="base" hangingPunct="0">
              <a:spcBef>
                <a:spcPct val="0"/>
              </a:spcBef>
              <a:spcAft>
                <a:spcPct val="0"/>
              </a:spcAft>
              <a:defRPr>
                <a:solidFill>
                  <a:schemeClr val="tx1"/>
                </a:solidFill>
                <a:latin typeface="Garamond" pitchFamily="18" charset="0"/>
              </a:defRPr>
            </a:lvl6pPr>
            <a:lvl7pPr marL="2971800" indent="-228600" defTabSz="904875" eaLnBrk="0" fontAlgn="base" hangingPunct="0">
              <a:spcBef>
                <a:spcPct val="0"/>
              </a:spcBef>
              <a:spcAft>
                <a:spcPct val="0"/>
              </a:spcAft>
              <a:defRPr>
                <a:solidFill>
                  <a:schemeClr val="tx1"/>
                </a:solidFill>
                <a:latin typeface="Garamond" pitchFamily="18" charset="0"/>
              </a:defRPr>
            </a:lvl7pPr>
            <a:lvl8pPr marL="3429000" indent="-228600" defTabSz="904875" eaLnBrk="0" fontAlgn="base" hangingPunct="0">
              <a:spcBef>
                <a:spcPct val="0"/>
              </a:spcBef>
              <a:spcAft>
                <a:spcPct val="0"/>
              </a:spcAft>
              <a:defRPr>
                <a:solidFill>
                  <a:schemeClr val="tx1"/>
                </a:solidFill>
                <a:latin typeface="Garamond" pitchFamily="18" charset="0"/>
              </a:defRPr>
            </a:lvl8pPr>
            <a:lvl9pPr marL="3886200" indent="-228600" defTabSz="904875" eaLnBrk="0" fontAlgn="base" hangingPunct="0">
              <a:spcBef>
                <a:spcPct val="0"/>
              </a:spcBef>
              <a:spcAft>
                <a:spcPct val="0"/>
              </a:spcAft>
              <a:defRPr>
                <a:solidFill>
                  <a:schemeClr val="tx1"/>
                </a:solidFill>
                <a:latin typeface="Garamond" pitchFamily="18" charset="0"/>
              </a:defRPr>
            </a:lvl9pPr>
          </a:lstStyle>
          <a:p>
            <a:fld id="{3ACBAA0D-5628-4341-A279-55E8757FD247}" type="slidenum">
              <a:rPr lang="en-US" altLang="en-US">
                <a:solidFill>
                  <a:srgbClr val="000000"/>
                </a:solidFill>
                <a:latin typeface="Arial" pitchFamily="34" charset="0"/>
              </a:rPr>
              <a:pPr/>
              <a:t>25</a:t>
            </a:fld>
            <a:endParaRPr lang="en-US" altLang="en-US">
              <a:solidFill>
                <a:srgbClr val="000000"/>
              </a:solidFill>
              <a:latin typeface="Arial" pitchFamily="34" charset="0"/>
            </a:endParaRPr>
          </a:p>
        </p:txBody>
      </p:sp>
      <p:sp>
        <p:nvSpPr>
          <p:cNvPr id="136195" name="Rectangle 2"/>
          <p:cNvSpPr>
            <a:spLocks noGrp="1" noRot="1" noChangeAspect="1" noChangeArrowheads="1" noTextEdit="1"/>
          </p:cNvSpPr>
          <p:nvPr>
            <p:ph type="sldImg"/>
          </p:nvPr>
        </p:nvSpPr>
        <p:spPr>
          <a:xfrm>
            <a:off x="382588" y="687388"/>
            <a:ext cx="6096000" cy="3429000"/>
          </a:xfrm>
          <a:ln/>
        </p:spPr>
      </p:sp>
      <p:sp>
        <p:nvSpPr>
          <p:cNvPr id="136196" name="Rectangle 3"/>
          <p:cNvSpPr>
            <a:spLocks noGrp="1" noChangeArrowheads="1"/>
          </p:cNvSpPr>
          <p:nvPr>
            <p:ph type="body" idx="1"/>
          </p:nvPr>
        </p:nvSpPr>
        <p:spPr>
          <a:xfrm>
            <a:off x="519114" y="4123796"/>
            <a:ext cx="5483225" cy="411265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b="1" dirty="0">
                <a:latin typeface="Arial" pitchFamily="34" charset="0"/>
              </a:rPr>
              <a:t>Quick little overview to get us started.  </a:t>
            </a:r>
          </a:p>
          <a:p>
            <a:pPr eaLnBrk="1" hangingPunct="1"/>
            <a:endParaRPr lang="en-US" altLang="en-US" b="1" dirty="0">
              <a:latin typeface="Arial" pitchFamily="34" charset="0"/>
            </a:endParaRPr>
          </a:p>
          <a:p>
            <a:pPr eaLnBrk="1" hangingPunct="1"/>
            <a:r>
              <a:rPr lang="en-US" altLang="en-US" b="1" dirty="0">
                <a:latin typeface="Arial" pitchFamily="34" charset="0"/>
              </a:rPr>
              <a:t>Where do Sanctions decisions come from?  </a:t>
            </a:r>
          </a:p>
          <a:p>
            <a:pPr eaLnBrk="1" hangingPunct="1"/>
            <a:endParaRPr lang="en-US" altLang="en-US" b="1" dirty="0">
              <a:latin typeface="Arial" pitchFamily="34" charset="0"/>
            </a:endParaRPr>
          </a:p>
          <a:p>
            <a:pPr eaLnBrk="1" hangingPunct="1"/>
            <a:r>
              <a:rPr lang="en-US" altLang="en-US" b="1" dirty="0">
                <a:latin typeface="Arial" pitchFamily="34" charset="0"/>
              </a:rPr>
              <a:t>As you can see from this chart:</a:t>
            </a:r>
          </a:p>
          <a:p>
            <a:pPr eaLnBrk="1" hangingPunct="1"/>
            <a:endParaRPr lang="en-US" altLang="en-US" b="1" dirty="0">
              <a:latin typeface="Arial" pitchFamily="34" charset="0"/>
            </a:endParaRPr>
          </a:p>
          <a:p>
            <a:pPr eaLnBrk="1" hangingPunct="1">
              <a:buFontTx/>
              <a:buChar char="•"/>
            </a:pPr>
            <a:r>
              <a:rPr lang="en-US" altLang="en-US" b="1" dirty="0">
                <a:latin typeface="Arial" pitchFamily="34" charset="0"/>
              </a:rPr>
              <a:t>39% of the decisions come from the Sanctions Board;  </a:t>
            </a:r>
          </a:p>
          <a:p>
            <a:pPr eaLnBrk="1" hangingPunct="1">
              <a:buFontTx/>
              <a:buChar char="•"/>
            </a:pPr>
            <a:r>
              <a:rPr lang="en-US" altLang="en-US" b="1" dirty="0">
                <a:latin typeface="Arial" pitchFamily="34" charset="0"/>
              </a:rPr>
              <a:t>61% of decisions are made at the OSD level – so, most cases get resolved at the OSD level.</a:t>
            </a:r>
          </a:p>
          <a:p>
            <a:pPr eaLnBrk="1" hangingPunct="1"/>
            <a:r>
              <a:rPr lang="en-US" altLang="en-US" b="1" dirty="0">
                <a:latin typeface="Arial" pitchFamily="34" charset="0"/>
              </a:rPr>
              <a:t>*As of October 2013</a:t>
            </a:r>
          </a:p>
          <a:p>
            <a:pPr eaLnBrk="1" hangingPunct="1"/>
            <a:endParaRPr lang="en-US" altLang="en-US" b="1" dirty="0">
              <a:latin typeface="Arial" pitchFamily="34" charset="0"/>
            </a:endParaRPr>
          </a:p>
          <a:p>
            <a:pPr eaLnBrk="1" hangingPunct="1"/>
            <a:r>
              <a:rPr lang="en-US" altLang="en-US" b="1" dirty="0">
                <a:latin typeface="Arial" pitchFamily="34" charset="0"/>
              </a:rPr>
              <a:t>All cases are based on investigations by INT.  My role as SDO is essentially that of an administrative judge.</a:t>
            </a:r>
          </a:p>
          <a:p>
            <a:pPr eaLnBrk="1" hangingPunct="1"/>
            <a:endParaRPr lang="en-US" altLang="en-US" b="1" dirty="0">
              <a:latin typeface="Arial" pitchFamily="34" charset="0"/>
            </a:endParaRPr>
          </a:p>
          <a:p>
            <a:pPr eaLnBrk="1" hangingPunct="1"/>
            <a:endParaRPr lang="en-US" altLang="en-US" b="1" dirty="0">
              <a:latin typeface="Arial" pitchFamily="34" charset="0"/>
            </a:endParaRPr>
          </a:p>
          <a:p>
            <a:pPr eaLnBrk="1" hangingPunct="1"/>
            <a:r>
              <a:rPr lang="en-US" altLang="en-US" dirty="0">
                <a:latin typeface="Arial" pitchFamily="34" charset="0"/>
              </a:rPr>
              <a:t>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a:xfrm>
            <a:off x="381000" y="685800"/>
            <a:ext cx="6096000" cy="3429000"/>
          </a:xfrm>
          <a:ln/>
        </p:spPr>
      </p:sp>
      <p:sp>
        <p:nvSpPr>
          <p:cNvPr id="1372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itchFamily="34" charset="0"/>
              </a:rPr>
              <a:t>This slide tries to array different approaches to debarment against the various risks at issue.  Thus, for example, a rigid system of automatic exclusion of convicted contractors (the right-hand shape) does quite well at addressing reputational risk, but is not as good an instrument for addressing, say, </a:t>
            </a:r>
            <a:r>
              <a:rPr lang="en-US" altLang="en-US" i="1">
                <a:latin typeface="Arial" pitchFamily="34" charset="0"/>
              </a:rPr>
              <a:t>performance risk</a:t>
            </a:r>
            <a:r>
              <a:rPr lang="en-US" altLang="en-US">
                <a:latin typeface="Arial" pitchFamily="34" charset="0"/>
              </a:rPr>
              <a:t>.</a:t>
            </a:r>
          </a:p>
        </p:txBody>
      </p:sp>
      <p:sp>
        <p:nvSpPr>
          <p:cNvPr id="1372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fld id="{317F0D2E-56B2-456C-A14E-8567042A0DF4}" type="slidenum">
              <a:rPr lang="en-GB" altLang="en-US">
                <a:solidFill>
                  <a:prstClr val="black"/>
                </a:solidFill>
                <a:latin typeface="Arial" pitchFamily="34" charset="0"/>
              </a:rPr>
              <a:pPr/>
              <a:t>26</a:t>
            </a:fld>
            <a:endParaRPr lang="en-GB" altLang="en-US">
              <a:solidFill>
                <a:prstClr val="black"/>
              </a:solidFill>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emf"/><Relationship Id="rId2" Type="http://schemas.openxmlformats.org/officeDocument/2006/relationships/tags" Target="../tags/tag1.xml"/><Relationship Id="rId1" Type="http://schemas.openxmlformats.org/officeDocument/2006/relationships/vmlDrawing" Target="../drawings/vmlDrawing2.vml"/><Relationship Id="rId6" Type="http://schemas.openxmlformats.org/officeDocument/2006/relationships/oleObject" Target="../embeddings/oleObject3.bin"/><Relationship Id="rId5" Type="http://schemas.openxmlformats.org/officeDocument/2006/relationships/image" Target="../media/image12.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vmlDrawing" Target="../drawings/vmlDrawing1.vml"/><Relationship Id="rId6" Type="http://schemas.openxmlformats.org/officeDocument/2006/relationships/image" Target="../media/image9.png"/><Relationship Id="rId5" Type="http://schemas.openxmlformats.org/officeDocument/2006/relationships/image" Target="../media/image10.w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Benutzerdefiniertes Layout">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49E00309-98E8-4A16-A46C-344A14F9C35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3727D5F8-7E8C-4BB6-945C-CCFC484172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47C47230-86BD-4C29-B250-CC62C9BE4FA8}"/>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a:extLst>
              <a:ext uri="{FF2B5EF4-FFF2-40B4-BE49-F238E27FC236}">
                <a16:creationId xmlns:a16="http://schemas.microsoft.com/office/drawing/2014/main" id="{35E5171A-8DD4-421C-9C93-7998003F3F2D}"/>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84B60A5A-8A55-4E11-BF01-9D355183D41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a:extLst>
              <a:ext uri="{FF2B5EF4-FFF2-40B4-BE49-F238E27FC236}">
                <a16:creationId xmlns:a16="http://schemas.microsoft.com/office/drawing/2014/main" id="{2DB7F4E3-BF46-454A-87FA-F32B15081859}"/>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5">
            <a:extLst>
              <a:ext uri="{FF2B5EF4-FFF2-40B4-BE49-F238E27FC236}">
                <a16:creationId xmlns:a16="http://schemas.microsoft.com/office/drawing/2014/main" id="{7A997214-7B65-43C3-BAE6-1BB400D13DF0}"/>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33353540-398A-4C2B-ADEE-194875EF1D10}" type="slidenum">
              <a:rPr lang="de-DE" altLang="en-US" sz="1200" smtClean="0"/>
              <a:pPr algn="ctr" eaLnBrk="1" hangingPunct="1">
                <a:defRPr/>
              </a:pPr>
              <a:t>‹#›</a:t>
            </a:fld>
            <a:endParaRPr lang="de-DE" altLang="en-US" sz="1200"/>
          </a:p>
        </p:txBody>
      </p:sp>
      <p:pic>
        <p:nvPicPr>
          <p:cNvPr id="12" name="Picture 3">
            <a:extLst>
              <a:ext uri="{FF2B5EF4-FFF2-40B4-BE49-F238E27FC236}">
                <a16:creationId xmlns:a16="http://schemas.microsoft.com/office/drawing/2014/main" id="{2B995277-5261-4BC8-AEAC-0BBE2491AA6A}"/>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719403" y="1205880"/>
            <a:ext cx="10862997" cy="782960"/>
          </a:xfrm>
          <a:prstGeom prst="rect">
            <a:avLst/>
          </a:prstGeom>
        </p:spPr>
        <p:txBody>
          <a:bodyPr vert="horz"/>
          <a:lstStyle>
            <a:lvl1pPr>
              <a:defRPr>
                <a:solidFill>
                  <a:schemeClr val="accent2"/>
                </a:solidFill>
              </a:defRPr>
            </a:lvl1pPr>
          </a:lstStyle>
          <a:p>
            <a:r>
              <a:rPr lang="de-AT" dirty="0"/>
              <a:t>Mastertitelformat bearbeiten</a:t>
            </a:r>
            <a:endParaRPr lang="de-DE" dirty="0"/>
          </a:p>
        </p:txBody>
      </p:sp>
      <p:sp>
        <p:nvSpPr>
          <p:cNvPr id="7" name="Inhaltsplatzhalter 6"/>
          <p:cNvSpPr>
            <a:spLocks noGrp="1"/>
          </p:cNvSpPr>
          <p:nvPr>
            <p:ph sz="quarter" idx="12"/>
          </p:nvPr>
        </p:nvSpPr>
        <p:spPr>
          <a:xfrm>
            <a:off x="719667" y="2060849"/>
            <a:ext cx="10847917" cy="4031977"/>
          </a:xfrm>
        </p:spPr>
        <p:txBody>
          <a:bodyPr/>
          <a:lstStyle>
            <a:lvl2pPr>
              <a:defRPr>
                <a:solidFill>
                  <a:schemeClr val="tx1"/>
                </a:solidFill>
              </a:defRPr>
            </a:lvl2pPr>
          </a:lstStyle>
          <a:p>
            <a:pPr lvl="0"/>
            <a:r>
              <a:rPr lang="de-AT" dirty="0"/>
              <a:t>Mastertextformat bearbeiten</a:t>
            </a:r>
          </a:p>
          <a:p>
            <a:pPr lvl="1"/>
            <a:r>
              <a:rPr lang="de-AT" dirty="0"/>
              <a:t>Zweite Ebene</a:t>
            </a:r>
          </a:p>
          <a:p>
            <a:pPr lvl="2"/>
            <a:r>
              <a:rPr lang="de-AT" dirty="0"/>
              <a:t>Dritte Ebene</a:t>
            </a:r>
          </a:p>
          <a:p>
            <a:pPr lvl="3"/>
            <a:r>
              <a:rPr lang="de-AT" dirty="0"/>
              <a:t>Vierte Ebene</a:t>
            </a:r>
          </a:p>
          <a:p>
            <a:pPr lvl="4"/>
            <a:r>
              <a:rPr lang="de-AT" dirty="0"/>
              <a:t>Fünfte Ebene</a:t>
            </a:r>
            <a:endParaRPr lang="de-DE" dirty="0"/>
          </a:p>
        </p:txBody>
      </p:sp>
      <p:sp>
        <p:nvSpPr>
          <p:cNvPr id="13" name="Foliennummernplatzhalter 3">
            <a:extLst>
              <a:ext uri="{FF2B5EF4-FFF2-40B4-BE49-F238E27FC236}">
                <a16:creationId xmlns:a16="http://schemas.microsoft.com/office/drawing/2014/main" id="{7C5E860C-20DB-41C3-B9AF-008720D0E3D2}"/>
              </a:ext>
            </a:extLst>
          </p:cNvPr>
          <p:cNvSpPr>
            <a:spLocks noGrp="1"/>
          </p:cNvSpPr>
          <p:nvPr>
            <p:ph type="sldNum" sz="quarter" idx="13"/>
          </p:nvPr>
        </p:nvSpPr>
        <p:spPr/>
        <p:txBody>
          <a:bodyPr/>
          <a:lstStyle>
            <a:lvl1pPr>
              <a:defRPr/>
            </a:lvl1pPr>
          </a:lstStyle>
          <a:p>
            <a:pPr>
              <a:defRPr/>
            </a:pPr>
            <a:fld id="{5A799FD6-5930-46FD-BF90-6A2F98D16A04}" type="slidenum">
              <a:rPr lang="de-DE" altLang="en-US"/>
              <a:pPr>
                <a:defRPr/>
              </a:pPr>
              <a:t>‹#›</a:t>
            </a:fld>
            <a:endParaRPr lang="de-DE" altLang="en-US"/>
          </a:p>
        </p:txBody>
      </p:sp>
    </p:spTree>
    <p:extLst>
      <p:ext uri="{BB962C8B-B14F-4D97-AF65-F5344CB8AC3E}">
        <p14:creationId xmlns:p14="http://schemas.microsoft.com/office/powerpoint/2010/main" val="4010387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p:cNvGrpSpPr>
            <a:grpSpLocks/>
          </p:cNvGrpSpPr>
          <p:nvPr/>
        </p:nvGrpSpPr>
        <p:grpSpPr bwMode="auto">
          <a:xfrm>
            <a:off x="1" y="1"/>
            <a:ext cx="12187767" cy="6850063"/>
            <a:chOff x="0" y="0"/>
            <a:chExt cx="5758" cy="4315"/>
          </a:xfrm>
        </p:grpSpPr>
        <p:grpSp>
          <p:nvGrpSpPr>
            <p:cNvPr id="5" name="Group 5"/>
            <p:cNvGrpSpPr>
              <a:grpSpLocks/>
            </p:cNvGrpSpPr>
            <p:nvPr userDrawn="1"/>
          </p:nvGrpSpPr>
          <p:grpSpPr bwMode="auto">
            <a:xfrm>
              <a:off x="1728" y="2230"/>
              <a:ext cx="4027" cy="2085"/>
              <a:chOff x="1728" y="2230"/>
              <a:chExt cx="4027" cy="2085"/>
            </a:xfrm>
          </p:grpSpPr>
          <p:sp>
            <p:nvSpPr>
              <p:cNvPr id="8"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9"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0"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1"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3"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6"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7"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14" name="Text Box 16"/>
          <p:cNvSpPr txBox="1">
            <a:spLocks noChangeArrowheads="1"/>
          </p:cNvSpPr>
          <p:nvPr/>
        </p:nvSpPr>
        <p:spPr bwMode="auto">
          <a:xfrm>
            <a:off x="11074400" y="304802"/>
            <a:ext cx="711200" cy="366713"/>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endParaRPr lang="en-US" sz="1800">
              <a:solidFill>
                <a:srgbClr val="FFFFFF"/>
              </a:solidFill>
            </a:endParaRPr>
          </a:p>
        </p:txBody>
      </p:sp>
      <p:sp>
        <p:nvSpPr>
          <p:cNvPr id="15" name="Text Box 17"/>
          <p:cNvSpPr txBox="1">
            <a:spLocks noChangeArrowheads="1"/>
          </p:cNvSpPr>
          <p:nvPr/>
        </p:nvSpPr>
        <p:spPr bwMode="auto">
          <a:xfrm>
            <a:off x="11582400" y="228604"/>
            <a:ext cx="609600" cy="369332"/>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fld id="{6BF723B7-5516-4332-9CC4-EBB2A16E48AE}" type="slidenum">
              <a:rPr lang="en-US" sz="1800">
                <a:solidFill>
                  <a:srgbClr val="FFFFFF"/>
                </a:solidFill>
              </a:rPr>
              <a:pPr eaLnBrk="0" fontAlgn="base" hangingPunct="0">
                <a:spcBef>
                  <a:spcPct val="50000"/>
                </a:spcBef>
                <a:spcAft>
                  <a:spcPct val="0"/>
                </a:spcAft>
                <a:defRPr/>
              </a:pPr>
              <a:t>‹#›</a:t>
            </a:fld>
            <a:endParaRPr lang="en-US" sz="1800">
              <a:solidFill>
                <a:srgbClr val="FFFFFF"/>
              </a:solidFill>
            </a:endParaRPr>
          </a:p>
        </p:txBody>
      </p:sp>
      <p:graphicFrame>
        <p:nvGraphicFramePr>
          <p:cNvPr id="16" name="Object 18"/>
          <p:cNvGraphicFramePr>
            <a:graphicFrameLocks noChangeAspect="1"/>
          </p:cNvGraphicFramePr>
          <p:nvPr/>
        </p:nvGraphicFramePr>
        <p:xfrm>
          <a:off x="9652000" y="5918200"/>
          <a:ext cx="2540000" cy="939800"/>
        </p:xfrm>
        <a:graphic>
          <a:graphicData uri="http://schemas.openxmlformats.org/presentationml/2006/ole">
            <mc:AlternateContent xmlns:mc="http://schemas.openxmlformats.org/markup-compatibility/2006">
              <mc:Choice xmlns:v="urn:schemas-microsoft-com:vml" Requires="v">
                <p:oleObj spid="_x0000_s4142" name="Bitmap Image" r:id="rId4" imgW="2142857" imgH="1057423" progId="Paint.Picture">
                  <p:embed/>
                </p:oleObj>
              </mc:Choice>
              <mc:Fallback>
                <p:oleObj name="Bitmap Image" r:id="rId4" imgW="2142857" imgH="1057423" progId="Paint.Picture">
                  <p:embed/>
                  <p:pic>
                    <p:nvPicPr>
                      <p:cNvPr id="16" name="Object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652000" y="5918200"/>
                        <a:ext cx="2540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p:cNvGraphicFramePr>
            <a:graphicFrameLocks noChangeAspect="1"/>
          </p:cNvGraphicFramePr>
          <p:nvPr>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4143" name="think-cell Slide" r:id="rId6" imgW="360" imgH="360" progId="">
                  <p:embed/>
                </p:oleObj>
              </mc:Choice>
              <mc:Fallback>
                <p:oleObj name="think-cell Slide" r:id="rId6" imgW="360" imgH="360" progId="">
                  <p:embed/>
                  <p:pic>
                    <p:nvPicPr>
                      <p:cNvPr id="1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19" y="1593"/>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lowchart: Process 17"/>
          <p:cNvSpPr/>
          <p:nvPr userDrawn="1"/>
        </p:nvSpPr>
        <p:spPr>
          <a:xfrm>
            <a:off x="334433" y="908050"/>
            <a:ext cx="3744384"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19" name="Flowchart: Process 18"/>
          <p:cNvSpPr/>
          <p:nvPr userDrawn="1"/>
        </p:nvSpPr>
        <p:spPr>
          <a:xfrm>
            <a:off x="3467100" y="908050"/>
            <a:ext cx="2271184"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0" name="Flowchart: Process 19"/>
          <p:cNvSpPr/>
          <p:nvPr userDrawn="1"/>
        </p:nvSpPr>
        <p:spPr>
          <a:xfrm>
            <a:off x="5738287" y="908050"/>
            <a:ext cx="2271183"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1" name="TextBox 20"/>
          <p:cNvSpPr txBox="1"/>
          <p:nvPr userDrawn="1"/>
        </p:nvSpPr>
        <p:spPr>
          <a:xfrm>
            <a:off x="508003" y="6438900"/>
            <a:ext cx="673100" cy="306388"/>
          </a:xfrm>
          <a:prstGeom prst="rect">
            <a:avLst/>
          </a:prstGeom>
          <a:noFill/>
        </p:spPr>
        <p:txBody>
          <a:bodyPr>
            <a:spAutoFit/>
          </a:bodyPr>
          <a:lstStyle/>
          <a:p>
            <a:pPr eaLnBrk="0" fontAlgn="base" hangingPunct="0">
              <a:spcBef>
                <a:spcPct val="0"/>
              </a:spcBef>
              <a:spcAft>
                <a:spcPct val="0"/>
              </a:spcAft>
              <a:defRPr/>
            </a:pPr>
            <a:fld id="{FA6B8996-A95C-4795-B0B0-D75F900294E1}" type="slidenum">
              <a:rPr lang="en-GB" sz="1400">
                <a:solidFill>
                  <a:srgbClr val="FFFFFF">
                    <a:lumMod val="50000"/>
                    <a:lumOff val="50000"/>
                  </a:srgbClr>
                </a:solidFill>
                <a:latin typeface="Arial" panose="020B0604020202020204" pitchFamily="34" charset="0"/>
                <a:cs typeface="Arial" panose="020B0604020202020204" pitchFamily="34" charset="0"/>
              </a:rPr>
              <a:pPr eaLnBrk="0" fontAlgn="base" hangingPunct="0">
                <a:spcBef>
                  <a:spcPct val="0"/>
                </a:spcBef>
                <a:spcAft>
                  <a:spcPct val="0"/>
                </a:spcAft>
                <a:defRPr/>
              </a:pPr>
              <a:t>‹#›</a:t>
            </a:fld>
            <a:endParaRPr lang="en-GB" sz="1800" dirty="0">
              <a:solidFill>
                <a:srgbClr val="FFFFFF">
                  <a:lumMod val="50000"/>
                  <a:lumOff val="50000"/>
                </a:srgbClr>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335360" y="476672"/>
            <a:ext cx="9889099"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335360" y="1989138"/>
            <a:ext cx="11618384"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557446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6CF70C54-D73C-46BC-9F5E-3C06972A7086}"/>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63EDF1B4-D67B-4075-B61F-432C138A253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E2570534-484F-46D6-A11A-169DB24DF1D7}"/>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C0CC1457-0832-4503-8608-9CCB9F128D1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877E2E8D-18A0-451F-BADF-109E092CAD21}"/>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a:extLst>
              <a:ext uri="{FF2B5EF4-FFF2-40B4-BE49-F238E27FC236}">
                <a16:creationId xmlns:a16="http://schemas.microsoft.com/office/drawing/2014/main" id="{17BD9FB6-A7F0-4C66-8A1E-F88E32052A24}"/>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ctrTitle"/>
          </p:nvPr>
        </p:nvSpPr>
        <p:spPr>
          <a:xfrm>
            <a:off x="914400" y="2130426"/>
            <a:ext cx="10363200" cy="1470025"/>
          </a:xfrm>
          <a:prstGeom prst="rect">
            <a:avLst/>
          </a:prstGeom>
        </p:spPr>
        <p:txBody>
          <a:bodyPr vert="horz"/>
          <a:lstStyle>
            <a:lvl1pPr>
              <a:defRPr>
                <a:solidFill>
                  <a:schemeClr val="accent2"/>
                </a:solidFill>
              </a:defRPr>
            </a:lvl1pPr>
          </a:lstStyle>
          <a:p>
            <a:r>
              <a:rPr lang="de-AT" dirty="0"/>
              <a:t>Mastertitelformat bearbeiten</a:t>
            </a:r>
            <a:endParaRPr lang="de-DE" dirty="0"/>
          </a:p>
        </p:txBody>
      </p:sp>
      <p:sp>
        <p:nvSpPr>
          <p:cNvPr id="3" name="Untertitel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AT"/>
              <a:t>Master-Untertitelformat bearbeiten</a:t>
            </a:r>
            <a:endParaRPr lang="de-DE"/>
          </a:p>
        </p:txBody>
      </p:sp>
      <p:sp>
        <p:nvSpPr>
          <p:cNvPr id="10" name="Rectangle 6">
            <a:extLst>
              <a:ext uri="{FF2B5EF4-FFF2-40B4-BE49-F238E27FC236}">
                <a16:creationId xmlns:a16="http://schemas.microsoft.com/office/drawing/2014/main" id="{21837BFA-4815-4C51-9036-842F63CFFFDE}"/>
              </a:ext>
            </a:extLst>
          </p:cNvPr>
          <p:cNvSpPr>
            <a:spLocks noGrp="1" noChangeArrowheads="1"/>
          </p:cNvSpPr>
          <p:nvPr>
            <p:ph type="sldNum" sz="quarter" idx="10"/>
          </p:nvPr>
        </p:nvSpPr>
        <p:spPr/>
        <p:txBody>
          <a:bodyPr/>
          <a:lstStyle>
            <a:lvl1pPr>
              <a:defRPr/>
            </a:lvl1pPr>
          </a:lstStyle>
          <a:p>
            <a:pPr>
              <a:defRPr/>
            </a:pPr>
            <a:fld id="{A6A10D37-180D-4667-B262-530287E14F3D}" type="slidenum">
              <a:rPr lang="de-DE" altLang="en-US"/>
              <a:pPr>
                <a:defRPr/>
              </a:pPr>
              <a:t>‹#›</a:t>
            </a:fld>
            <a:endParaRPr lang="de-DE" altLang="en-US"/>
          </a:p>
        </p:txBody>
      </p:sp>
    </p:spTree>
    <p:extLst>
      <p:ext uri="{BB962C8B-B14F-4D97-AF65-F5344CB8AC3E}">
        <p14:creationId xmlns:p14="http://schemas.microsoft.com/office/powerpoint/2010/main" val="29336380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überschrift">
    <p:spTree>
      <p:nvGrpSpPr>
        <p:cNvPr id="1" name=""/>
        <p:cNvGrpSpPr/>
        <p:nvPr/>
      </p:nvGrpSpPr>
      <p:grpSpPr>
        <a:xfrm>
          <a:off x="0" y="0"/>
          <a:ext cx="0" cy="0"/>
          <a:chOff x="0" y="0"/>
          <a:chExt cx="0" cy="0"/>
        </a:xfrm>
      </p:grpSpPr>
      <p:graphicFrame>
        <p:nvGraphicFramePr>
          <p:cNvPr id="4" name="Group 10">
            <a:extLst>
              <a:ext uri="{FF2B5EF4-FFF2-40B4-BE49-F238E27FC236}">
                <a16:creationId xmlns:a16="http://schemas.microsoft.com/office/drawing/2014/main" id="{B9F50A3D-5BA6-4D4E-A63C-A706A30F542F}"/>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5" name="Picture 4">
            <a:extLst>
              <a:ext uri="{FF2B5EF4-FFF2-40B4-BE49-F238E27FC236}">
                <a16:creationId xmlns:a16="http://schemas.microsoft.com/office/drawing/2014/main" id="{1832835B-9E7D-4BE7-85EF-F6C14C7050A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a:extLst>
              <a:ext uri="{FF2B5EF4-FFF2-40B4-BE49-F238E27FC236}">
                <a16:creationId xmlns:a16="http://schemas.microsoft.com/office/drawing/2014/main" id="{D8B57072-EC55-4D22-9B1A-5D67A0D71C11}"/>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04442BF8-FDD4-4963-B51A-1B6A9CA4DA05}"/>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6BC181D7-796A-43D0-A681-7AEDDD31396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a:extLst>
              <a:ext uri="{FF2B5EF4-FFF2-40B4-BE49-F238E27FC236}">
                <a16:creationId xmlns:a16="http://schemas.microsoft.com/office/drawing/2014/main" id="{2D61566C-B72A-4B1F-BB96-87234FDF559F}"/>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1">
            <a:extLst>
              <a:ext uri="{FF2B5EF4-FFF2-40B4-BE49-F238E27FC236}">
                <a16:creationId xmlns:a16="http://schemas.microsoft.com/office/drawing/2014/main" id="{14BD4F82-73DF-40B3-BBB5-411BE66E4638}"/>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a:xfrm>
            <a:off x="963084" y="4406901"/>
            <a:ext cx="10363200" cy="1362075"/>
          </a:xfrm>
          <a:prstGeom prst="rect">
            <a:avLst/>
          </a:prstGeom>
        </p:spPr>
        <p:txBody>
          <a:bodyPr vert="horz" anchor="t"/>
          <a:lstStyle>
            <a:lvl1pPr algn="l">
              <a:defRPr sz="4000" b="1" cap="all">
                <a:solidFill>
                  <a:schemeClr val="accent2"/>
                </a:solidFill>
              </a:defRPr>
            </a:lvl1pPr>
          </a:lstStyle>
          <a:p>
            <a:r>
              <a:rPr lang="de-AT" dirty="0"/>
              <a:t>Mastertitelformat bearbeiten</a:t>
            </a:r>
            <a:endParaRPr lang="de-DE" dirty="0"/>
          </a:p>
        </p:txBody>
      </p:sp>
      <p:sp>
        <p:nvSpPr>
          <p:cNvPr id="3" name="Textplatzhalt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AT"/>
              <a:t>Mastertextformat bearbeiten</a:t>
            </a:r>
          </a:p>
        </p:txBody>
      </p:sp>
      <p:sp>
        <p:nvSpPr>
          <p:cNvPr id="11" name="Date Placeholder 4">
            <a:extLst>
              <a:ext uri="{FF2B5EF4-FFF2-40B4-BE49-F238E27FC236}">
                <a16:creationId xmlns:a16="http://schemas.microsoft.com/office/drawing/2014/main" id="{EDE14463-04D1-4954-AB55-5656643F479E}"/>
              </a:ext>
            </a:extLst>
          </p:cNvPr>
          <p:cNvSpPr>
            <a:spLocks noGrp="1" noChangeArrowheads="1"/>
          </p:cNvSpPr>
          <p:nvPr>
            <p:ph type="dt" sz="half" idx="10"/>
          </p:nvPr>
        </p:nvSpPr>
        <p:spPr/>
        <p:txBody>
          <a:bodyPr/>
          <a:lstStyle>
            <a:lvl1pPr>
              <a:defRPr/>
            </a:lvl1pPr>
          </a:lstStyle>
          <a:p>
            <a:pPr>
              <a:defRPr/>
            </a:pPr>
            <a:endParaRPr lang="de-DE"/>
          </a:p>
        </p:txBody>
      </p:sp>
      <p:sp>
        <p:nvSpPr>
          <p:cNvPr id="12" name="Rectangle 6">
            <a:extLst>
              <a:ext uri="{FF2B5EF4-FFF2-40B4-BE49-F238E27FC236}">
                <a16:creationId xmlns:a16="http://schemas.microsoft.com/office/drawing/2014/main" id="{7E8DDF8C-4DC0-4C0B-B906-6BB90A5BD5E9}"/>
              </a:ext>
            </a:extLst>
          </p:cNvPr>
          <p:cNvSpPr>
            <a:spLocks noGrp="1" noChangeArrowheads="1"/>
          </p:cNvSpPr>
          <p:nvPr>
            <p:ph type="sldNum" sz="quarter" idx="11"/>
          </p:nvPr>
        </p:nvSpPr>
        <p:spPr/>
        <p:txBody>
          <a:bodyPr/>
          <a:lstStyle>
            <a:lvl1pPr>
              <a:defRPr/>
            </a:lvl1pPr>
          </a:lstStyle>
          <a:p>
            <a:pPr>
              <a:defRPr/>
            </a:pPr>
            <a:fld id="{240B82AD-651A-4A61-BB76-24203C53FF87}" type="slidenum">
              <a:rPr lang="de-DE" altLang="en-US"/>
              <a:pPr>
                <a:defRPr/>
              </a:pPr>
              <a:t>‹#›</a:t>
            </a:fld>
            <a:endParaRPr lang="de-DE" altLang="en-US"/>
          </a:p>
        </p:txBody>
      </p:sp>
    </p:spTree>
    <p:extLst>
      <p:ext uri="{BB962C8B-B14F-4D97-AF65-F5344CB8AC3E}">
        <p14:creationId xmlns:p14="http://schemas.microsoft.com/office/powerpoint/2010/main" val="15615547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Leer">
    <p:spTree>
      <p:nvGrpSpPr>
        <p:cNvPr id="1" name=""/>
        <p:cNvGrpSpPr/>
        <p:nvPr/>
      </p:nvGrpSpPr>
      <p:grpSpPr>
        <a:xfrm>
          <a:off x="0" y="0"/>
          <a:ext cx="0" cy="0"/>
          <a:chOff x="0" y="0"/>
          <a:chExt cx="0" cy="0"/>
        </a:xfrm>
      </p:grpSpPr>
      <p:graphicFrame>
        <p:nvGraphicFramePr>
          <p:cNvPr id="2" name="Group 10">
            <a:extLst>
              <a:ext uri="{FF2B5EF4-FFF2-40B4-BE49-F238E27FC236}">
                <a16:creationId xmlns:a16="http://schemas.microsoft.com/office/drawing/2014/main" id="{85A1968A-CBA7-4B78-BF40-3A13AC67F6C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3" name="Picture 4">
            <a:extLst>
              <a:ext uri="{FF2B5EF4-FFF2-40B4-BE49-F238E27FC236}">
                <a16:creationId xmlns:a16="http://schemas.microsoft.com/office/drawing/2014/main" id="{C6A4A53C-42A9-42AC-B3BA-97E78A75B0A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8F8F9DD2-86D7-4079-B437-385280C4E380}"/>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6F82B4C0-0580-43CF-9FEE-08F80549E2B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4C5BF18D-6CB0-4874-864C-04D775FCA0C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a:extLst>
              <a:ext uri="{FF2B5EF4-FFF2-40B4-BE49-F238E27FC236}">
                <a16:creationId xmlns:a16="http://schemas.microsoft.com/office/drawing/2014/main" id="{4AB76BA0-20D4-49DB-A742-B1F7B11F620B}"/>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5">
            <a:extLst>
              <a:ext uri="{FF2B5EF4-FFF2-40B4-BE49-F238E27FC236}">
                <a16:creationId xmlns:a16="http://schemas.microsoft.com/office/drawing/2014/main" id="{471623EE-0E27-4B8E-933F-9AEBF27D97A5}"/>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F6B4DA7B-1E8A-4552-99CC-3CF4AAB3592F}" type="slidenum">
              <a:rPr lang="de-DE" altLang="en-US" sz="1200" smtClean="0"/>
              <a:pPr algn="ctr" eaLnBrk="1" hangingPunct="1">
                <a:defRPr/>
              </a:pPr>
              <a:t>‹#›</a:t>
            </a:fld>
            <a:endParaRPr lang="de-DE" altLang="en-US" sz="1200"/>
          </a:p>
        </p:txBody>
      </p:sp>
      <p:pic>
        <p:nvPicPr>
          <p:cNvPr id="9" name="Picture 3">
            <a:extLst>
              <a:ext uri="{FF2B5EF4-FFF2-40B4-BE49-F238E27FC236}">
                <a16:creationId xmlns:a16="http://schemas.microsoft.com/office/drawing/2014/main" id="{E6C2BA31-D13E-405E-AB29-47E880E5A21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a:extLst>
              <a:ext uri="{FF2B5EF4-FFF2-40B4-BE49-F238E27FC236}">
                <a16:creationId xmlns:a16="http://schemas.microsoft.com/office/drawing/2014/main" id="{BFE30349-B32E-4627-BCDA-8EF5F674E2B3}"/>
              </a:ext>
            </a:extLst>
          </p:cNvPr>
          <p:cNvSpPr>
            <a:spLocks noGrp="1" noChangeArrowheads="1"/>
          </p:cNvSpPr>
          <p:nvPr>
            <p:ph type="dt" sz="half" idx="10"/>
          </p:nvPr>
        </p:nvSpPr>
        <p:spPr/>
        <p:txBody>
          <a:bodyPr/>
          <a:lstStyle>
            <a:lvl1pPr>
              <a:defRPr/>
            </a:lvl1pPr>
          </a:lstStyle>
          <a:p>
            <a:pPr>
              <a:defRPr/>
            </a:pPr>
            <a:endParaRPr lang="de-DE"/>
          </a:p>
        </p:txBody>
      </p:sp>
      <p:sp>
        <p:nvSpPr>
          <p:cNvPr id="11" name="Rectangle 6">
            <a:extLst>
              <a:ext uri="{FF2B5EF4-FFF2-40B4-BE49-F238E27FC236}">
                <a16:creationId xmlns:a16="http://schemas.microsoft.com/office/drawing/2014/main" id="{5BC429F4-45BD-490F-8C46-8DF03C0C3204}"/>
              </a:ext>
            </a:extLst>
          </p:cNvPr>
          <p:cNvSpPr>
            <a:spLocks noGrp="1" noChangeArrowheads="1"/>
          </p:cNvSpPr>
          <p:nvPr>
            <p:ph type="sldNum" sz="quarter" idx="11"/>
          </p:nvPr>
        </p:nvSpPr>
        <p:spPr/>
        <p:txBody>
          <a:bodyPr/>
          <a:lstStyle>
            <a:lvl1pPr>
              <a:defRPr/>
            </a:lvl1pPr>
          </a:lstStyle>
          <a:p>
            <a:pPr>
              <a:defRPr/>
            </a:pPr>
            <a:fld id="{6932C3D2-31DF-4C00-BFEB-9BB47C50B931}" type="slidenum">
              <a:rPr lang="de-DE" altLang="en-US"/>
              <a:pPr>
                <a:defRPr/>
              </a:pPr>
              <a:t>‹#›</a:t>
            </a:fld>
            <a:endParaRPr lang="de-DE" altLang="en-US"/>
          </a:p>
        </p:txBody>
      </p:sp>
    </p:spTree>
    <p:extLst>
      <p:ext uri="{BB962C8B-B14F-4D97-AF65-F5344CB8AC3E}">
        <p14:creationId xmlns:p14="http://schemas.microsoft.com/office/powerpoint/2010/main" val="26395862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Leer">
    <p:spTree>
      <p:nvGrpSpPr>
        <p:cNvPr id="1" name=""/>
        <p:cNvGrpSpPr/>
        <p:nvPr/>
      </p:nvGrpSpPr>
      <p:grpSpPr>
        <a:xfrm>
          <a:off x="0" y="0"/>
          <a:ext cx="0" cy="0"/>
          <a:chOff x="0" y="0"/>
          <a:chExt cx="0" cy="0"/>
        </a:xfrm>
      </p:grpSpPr>
      <p:graphicFrame>
        <p:nvGraphicFramePr>
          <p:cNvPr id="2" name="Group 10">
            <a:extLst>
              <a:ext uri="{FF2B5EF4-FFF2-40B4-BE49-F238E27FC236}">
                <a16:creationId xmlns:a16="http://schemas.microsoft.com/office/drawing/2014/main" id="{85A1968A-CBA7-4B78-BF40-3A13AC67F6C2}"/>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3" name="Picture 4">
            <a:extLst>
              <a:ext uri="{FF2B5EF4-FFF2-40B4-BE49-F238E27FC236}">
                <a16:creationId xmlns:a16="http://schemas.microsoft.com/office/drawing/2014/main" id="{C6A4A53C-42A9-42AC-B3BA-97E78A75B0A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6">
            <a:extLst>
              <a:ext uri="{FF2B5EF4-FFF2-40B4-BE49-F238E27FC236}">
                <a16:creationId xmlns:a16="http://schemas.microsoft.com/office/drawing/2014/main" id="{8F8F9DD2-86D7-4079-B437-385280C4E380}"/>
              </a:ext>
            </a:extLst>
          </p:cNvPr>
          <p:cNvPicPr>
            <a:picLocks noChangeAspect="1" noChangeArrowheads="1"/>
          </p:cNvPicPr>
          <p:nvPr userDrawn="1"/>
        </p:nvPicPr>
        <p:blipFill>
          <a:blip r:embed="rId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6F82B4C0-0580-43CF-9FEE-08F80549E2B2}"/>
              </a:ext>
            </a:extLst>
          </p:cNvPr>
          <p:cNvPicPr>
            <a:picLocks noChangeAspect="1" noChangeArrowheads="1"/>
          </p:cNvPicPr>
          <p:nvPr userDrawn="1"/>
        </p:nvPicPr>
        <p:blipFill>
          <a:blip r:embed="rId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2">
            <a:extLst>
              <a:ext uri="{FF2B5EF4-FFF2-40B4-BE49-F238E27FC236}">
                <a16:creationId xmlns:a16="http://schemas.microsoft.com/office/drawing/2014/main" id="{4C5BF18D-6CB0-4874-864C-04D775FCA0C7}"/>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4">
            <a:extLst>
              <a:ext uri="{FF2B5EF4-FFF2-40B4-BE49-F238E27FC236}">
                <a16:creationId xmlns:a16="http://schemas.microsoft.com/office/drawing/2014/main" id="{4AB76BA0-20D4-49DB-A742-B1F7B11F620B}"/>
              </a:ext>
            </a:extLst>
          </p:cNvPr>
          <p:cNvPicPr>
            <a:picLocks noChangeAspect="1" noChangeArrowheads="1"/>
          </p:cNvPicPr>
          <p:nvPr userDrawn="1"/>
        </p:nvPicPr>
        <p:blipFill>
          <a:blip r:embed="rId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5">
            <a:extLst>
              <a:ext uri="{FF2B5EF4-FFF2-40B4-BE49-F238E27FC236}">
                <a16:creationId xmlns:a16="http://schemas.microsoft.com/office/drawing/2014/main" id="{471623EE-0E27-4B8E-933F-9AEBF27D97A5}"/>
              </a:ext>
            </a:extLst>
          </p:cNvPr>
          <p:cNvSpPr txBox="1">
            <a:spLocks noChangeArrowheads="1"/>
          </p:cNvSpPr>
          <p:nvPr userDrawn="1"/>
        </p:nvSpPr>
        <p:spPr bwMode="auto">
          <a:xfrm>
            <a:off x="4368800" y="6453189"/>
            <a:ext cx="3860800" cy="280987"/>
          </a:xfrm>
          <a:prstGeom prst="rect">
            <a:avLst/>
          </a:prstGeom>
          <a:noFill/>
          <a:ln>
            <a:noFill/>
          </a:ln>
          <a:effectLst/>
        </p:spPr>
        <p:txBody>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24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24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24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algn="ctr" eaLnBrk="1" hangingPunct="1">
              <a:defRPr/>
            </a:pPr>
            <a:r>
              <a:rPr lang="de-DE" altLang="en-US" sz="1200"/>
              <a:t>Slide </a:t>
            </a:r>
            <a:fld id="{F6B4DA7B-1E8A-4552-99CC-3CF4AAB3592F}" type="slidenum">
              <a:rPr lang="de-DE" altLang="en-US" sz="1200" smtClean="0"/>
              <a:pPr algn="ctr" eaLnBrk="1" hangingPunct="1">
                <a:defRPr/>
              </a:pPr>
              <a:t>‹#›</a:t>
            </a:fld>
            <a:endParaRPr lang="de-DE" altLang="en-US" sz="1200"/>
          </a:p>
        </p:txBody>
      </p:sp>
      <p:pic>
        <p:nvPicPr>
          <p:cNvPr id="9" name="Picture 3">
            <a:extLst>
              <a:ext uri="{FF2B5EF4-FFF2-40B4-BE49-F238E27FC236}">
                <a16:creationId xmlns:a16="http://schemas.microsoft.com/office/drawing/2014/main" id="{E6C2BA31-D13E-405E-AB29-47E880E5A212}"/>
              </a:ext>
            </a:extLst>
          </p:cNvPr>
          <p:cNvPicPr>
            <a:picLocks noChangeAspect="1"/>
          </p:cNvPicPr>
          <p:nvPr userDrawn="1"/>
        </p:nvPicPr>
        <p:blipFill>
          <a:blip r:embed="rId7" cstate="hqprint">
            <a:extLst>
              <a:ext uri="{28A0092B-C50C-407E-A947-70E740481C1C}">
                <a14:useLocalDpi xmlns:a14="http://schemas.microsoft.com/office/drawing/2010/main" val="0"/>
              </a:ext>
            </a:extLst>
          </a:blip>
          <a:srcRect/>
          <a:stretch>
            <a:fillRect/>
          </a:stretch>
        </p:blipFill>
        <p:spPr bwMode="auto">
          <a:xfrm>
            <a:off x="660400" y="6237288"/>
            <a:ext cx="6350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4">
            <a:extLst>
              <a:ext uri="{FF2B5EF4-FFF2-40B4-BE49-F238E27FC236}">
                <a16:creationId xmlns:a16="http://schemas.microsoft.com/office/drawing/2014/main" id="{BFE30349-B32E-4627-BCDA-8EF5F674E2B3}"/>
              </a:ext>
            </a:extLst>
          </p:cNvPr>
          <p:cNvSpPr>
            <a:spLocks noGrp="1" noChangeArrowheads="1"/>
          </p:cNvSpPr>
          <p:nvPr>
            <p:ph type="dt" sz="half" idx="10"/>
          </p:nvPr>
        </p:nvSpPr>
        <p:spPr/>
        <p:txBody>
          <a:bodyPr/>
          <a:lstStyle>
            <a:lvl1pPr>
              <a:defRPr/>
            </a:lvl1pPr>
          </a:lstStyle>
          <a:p>
            <a:pPr>
              <a:defRPr/>
            </a:pPr>
            <a:endParaRPr lang="de-DE"/>
          </a:p>
        </p:txBody>
      </p:sp>
      <p:sp>
        <p:nvSpPr>
          <p:cNvPr id="11" name="Rectangle 6">
            <a:extLst>
              <a:ext uri="{FF2B5EF4-FFF2-40B4-BE49-F238E27FC236}">
                <a16:creationId xmlns:a16="http://schemas.microsoft.com/office/drawing/2014/main" id="{5BC429F4-45BD-490F-8C46-8DF03C0C3204}"/>
              </a:ext>
            </a:extLst>
          </p:cNvPr>
          <p:cNvSpPr>
            <a:spLocks noGrp="1" noChangeArrowheads="1"/>
          </p:cNvSpPr>
          <p:nvPr>
            <p:ph type="sldNum" sz="quarter" idx="11"/>
          </p:nvPr>
        </p:nvSpPr>
        <p:spPr/>
        <p:txBody>
          <a:bodyPr/>
          <a:lstStyle>
            <a:lvl1pPr>
              <a:defRPr/>
            </a:lvl1pPr>
          </a:lstStyle>
          <a:p>
            <a:pPr>
              <a:defRPr/>
            </a:pPr>
            <a:fld id="{6932C3D2-31DF-4C00-BFEB-9BB47C50B931}" type="slidenum">
              <a:rPr lang="de-DE" altLang="en-US"/>
              <a:pPr>
                <a:defRPr/>
              </a:pPr>
              <a:t>‹#›</a:t>
            </a:fld>
            <a:endParaRPr lang="de-DE" altLang="en-US"/>
          </a:p>
        </p:txBody>
      </p:sp>
    </p:spTree>
    <p:extLst>
      <p:ext uri="{BB962C8B-B14F-4D97-AF65-F5344CB8AC3E}">
        <p14:creationId xmlns:p14="http://schemas.microsoft.com/office/powerpoint/2010/main" val="41000163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BACEF4B-6553-4978-9920-C0F14B382118}"/>
              </a:ext>
            </a:extLst>
          </p:cNvPr>
          <p:cNvSpPr/>
          <p:nvPr userDrawn="1"/>
        </p:nvSpPr>
        <p:spPr>
          <a:xfrm>
            <a:off x="-4176" y="-9979"/>
            <a:ext cx="11895655" cy="7161531"/>
          </a:xfrm>
          <a:prstGeom prst="rect">
            <a:avLst/>
          </a:prstGeom>
          <a:solidFill>
            <a:srgbClr val="DDDDDD"/>
          </a:solidFill>
          <a:ln>
            <a:solidFill>
              <a:srgbClr val="DDDDD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dirty="0"/>
          </a:p>
        </p:txBody>
      </p:sp>
      <p:sp>
        <p:nvSpPr>
          <p:cNvPr id="27" name="Rectangle 26">
            <a:extLst>
              <a:ext uri="{FF2B5EF4-FFF2-40B4-BE49-F238E27FC236}">
                <a16:creationId xmlns:a16="http://schemas.microsoft.com/office/drawing/2014/main" id="{B5C726A9-0392-4148-BA73-22665CF4D610}"/>
              </a:ext>
            </a:extLst>
          </p:cNvPr>
          <p:cNvSpPr/>
          <p:nvPr userDrawn="1"/>
        </p:nvSpPr>
        <p:spPr>
          <a:xfrm>
            <a:off x="212113" y="1583228"/>
            <a:ext cx="6799811" cy="523220"/>
          </a:xfrm>
          <a:prstGeom prst="rect">
            <a:avLst/>
          </a:prstGeom>
        </p:spPr>
        <p:txBody>
          <a:bodyPr wrap="square">
            <a:spAutoFit/>
          </a:bodyPr>
          <a:lstStyle/>
          <a:p>
            <a:pPr marL="0" indent="0" algn="l">
              <a:buNone/>
            </a:pPr>
            <a:endParaRPr lang="hr-HR" sz="2800" b="1" dirty="0">
              <a:solidFill>
                <a:srgbClr val="036DB5"/>
              </a:solidFill>
              <a:latin typeface="+mj-lt"/>
            </a:endParaRPr>
          </a:p>
        </p:txBody>
      </p:sp>
      <p:sp>
        <p:nvSpPr>
          <p:cNvPr id="5" name="Rectangle 4">
            <a:extLst>
              <a:ext uri="{FF2B5EF4-FFF2-40B4-BE49-F238E27FC236}">
                <a16:creationId xmlns:a16="http://schemas.microsoft.com/office/drawing/2014/main" id="{2B58B8BA-CFAF-4BCD-A03D-C0EFCB2D5AAB}"/>
              </a:ext>
            </a:extLst>
          </p:cNvPr>
          <p:cNvSpPr/>
          <p:nvPr userDrawn="1"/>
        </p:nvSpPr>
        <p:spPr>
          <a:xfrm>
            <a:off x="8307475" y="-9981"/>
            <a:ext cx="3884526" cy="702454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2D7B46A-3808-4B32-A35E-95C2B67A53B7}"/>
              </a:ext>
            </a:extLst>
          </p:cNvPr>
          <p:cNvSpPr/>
          <p:nvPr userDrawn="1"/>
        </p:nvSpPr>
        <p:spPr>
          <a:xfrm>
            <a:off x="8248113" y="4473896"/>
            <a:ext cx="3510193" cy="2677656"/>
          </a:xfrm>
          <a:prstGeom prst="rect">
            <a:avLst/>
          </a:prstGeom>
        </p:spPr>
        <p:txBody>
          <a:bodyPr wrap="square">
            <a:spAutoFit/>
          </a:bodyPr>
          <a:lstStyle/>
          <a:p>
            <a:pPr marL="0" indent="0" algn="r" defTabSz="914400" rtl="0" eaLnBrk="1" latinLnBrk="0" hangingPunct="1">
              <a:buNone/>
            </a:pPr>
            <a:endParaRPr lang="en-US" sz="2400" b="1" kern="1200" dirty="0">
              <a:solidFill>
                <a:srgbClr val="71AB7B"/>
              </a:solidFill>
              <a:latin typeface="+mj-lt"/>
              <a:ea typeface="+mn-ea"/>
              <a:cs typeface="+mn-cs"/>
            </a:endParaRPr>
          </a:p>
          <a:p>
            <a:pPr marL="0" indent="0" algn="r" defTabSz="914400" rtl="0" eaLnBrk="1" latinLnBrk="0" hangingPunct="1">
              <a:buNone/>
            </a:pPr>
            <a:r>
              <a:rPr lang="en-US" sz="2400" b="1" kern="1200" dirty="0">
                <a:solidFill>
                  <a:srgbClr val="036DB5"/>
                </a:solidFill>
                <a:latin typeface="+mj-lt"/>
                <a:ea typeface="+mn-ea"/>
                <a:cs typeface="+mn-cs"/>
              </a:rPr>
              <a:t> </a:t>
            </a:r>
          </a:p>
          <a:p>
            <a:pPr marL="0" indent="0" algn="r" defTabSz="914400" rtl="0" eaLnBrk="1" latinLnBrk="0" hangingPunct="1">
              <a:buNone/>
            </a:pPr>
            <a:r>
              <a:rPr lang="en-US" sz="2400" b="1" kern="1200" dirty="0">
                <a:solidFill>
                  <a:srgbClr val="036DB5"/>
                </a:solidFill>
                <a:latin typeface="+mj-lt"/>
                <a:ea typeface="+mn-ea"/>
                <a:cs typeface="+mn-cs"/>
              </a:rPr>
              <a:t>                  </a:t>
            </a:r>
          </a:p>
          <a:p>
            <a:pPr marL="0" indent="0" algn="r" defTabSz="914400" rtl="0" eaLnBrk="1" latinLnBrk="0" hangingPunct="1">
              <a:buNone/>
            </a:pPr>
            <a:r>
              <a:rPr lang="en-US" sz="2400" b="1" kern="1200" dirty="0">
                <a:solidFill>
                  <a:srgbClr val="71AB7B"/>
                </a:solidFill>
                <a:latin typeface="+mj-lt"/>
                <a:ea typeface="+mn-ea"/>
                <a:cs typeface="+mn-cs"/>
              </a:rPr>
              <a:t>International conference </a:t>
            </a:r>
          </a:p>
          <a:p>
            <a:pPr marL="0" indent="0" algn="r" defTabSz="914400" rtl="0" eaLnBrk="1" latinLnBrk="0" hangingPunct="1">
              <a:buNone/>
            </a:pPr>
            <a:r>
              <a:rPr lang="en-US" sz="2400" b="1" kern="1200" dirty="0">
                <a:solidFill>
                  <a:srgbClr val="71AB7B"/>
                </a:solidFill>
                <a:latin typeface="+mj-lt"/>
                <a:ea typeface="+mn-ea"/>
                <a:cs typeface="+mn-cs"/>
              </a:rPr>
              <a:t>in public procurement</a:t>
            </a:r>
          </a:p>
          <a:p>
            <a:pPr marL="0" indent="0" algn="r" defTabSz="914400" rtl="0" eaLnBrk="1" latinLnBrk="0" hangingPunct="1">
              <a:buNone/>
            </a:pPr>
            <a:endParaRPr lang="en-US" sz="2400" b="1" kern="1200" dirty="0">
              <a:solidFill>
                <a:srgbClr val="036DB5"/>
              </a:solidFill>
              <a:latin typeface="+mj-lt"/>
              <a:ea typeface="+mn-ea"/>
              <a:cs typeface="+mn-cs"/>
            </a:endParaRPr>
          </a:p>
          <a:p>
            <a:pPr marL="0" indent="0" algn="r" defTabSz="914400" rtl="0" eaLnBrk="1" latinLnBrk="0" hangingPunct="1">
              <a:buNone/>
            </a:pPr>
            <a:endParaRPr lang="en-US" sz="2400" b="1" kern="1200" dirty="0">
              <a:solidFill>
                <a:srgbClr val="036DB5"/>
              </a:solidFill>
              <a:latin typeface="+mj-lt"/>
              <a:ea typeface="+mn-ea"/>
              <a:cs typeface="+mn-cs"/>
            </a:endParaRPr>
          </a:p>
        </p:txBody>
      </p:sp>
      <p:sp>
        <p:nvSpPr>
          <p:cNvPr id="31" name="Title 1">
            <a:extLst>
              <a:ext uri="{FF2B5EF4-FFF2-40B4-BE49-F238E27FC236}">
                <a16:creationId xmlns:a16="http://schemas.microsoft.com/office/drawing/2014/main" id="{B90F3CE1-B4BF-4AB2-B38A-C89BB41719ED}"/>
              </a:ext>
            </a:extLst>
          </p:cNvPr>
          <p:cNvSpPr>
            <a:spLocks noGrp="1"/>
          </p:cNvSpPr>
          <p:nvPr>
            <p:ph type="ctrTitle" idx="4294967295"/>
          </p:nvPr>
        </p:nvSpPr>
        <p:spPr>
          <a:xfrm>
            <a:off x="364819" y="273067"/>
            <a:ext cx="7878358" cy="4631137"/>
          </a:xfrm>
        </p:spPr>
        <p:txBody>
          <a:bodyPr>
            <a:normAutofit/>
          </a:bodyPr>
          <a:lstStyle>
            <a:lvl1pPr>
              <a:defRPr/>
            </a:lvl1pPr>
          </a:lstStyle>
          <a:p>
            <a:endParaRPr lang="hr-HR" dirty="0"/>
          </a:p>
        </p:txBody>
      </p:sp>
      <p:pic>
        <p:nvPicPr>
          <p:cNvPr id="3" name="Picture 2">
            <a:extLst>
              <a:ext uri="{FF2B5EF4-FFF2-40B4-BE49-F238E27FC236}">
                <a16:creationId xmlns:a16="http://schemas.microsoft.com/office/drawing/2014/main" id="{D02A7CC7-152D-4A16-A400-4D9D00FD5F9E}"/>
              </a:ext>
            </a:extLst>
          </p:cNvPr>
          <p:cNvPicPr>
            <a:picLocks noChangeAspect="1"/>
          </p:cNvPicPr>
          <p:nvPr userDrawn="1"/>
        </p:nvPicPr>
        <p:blipFill rotWithShape="1">
          <a:blip r:embed="rId2" cstate="hqprint">
            <a:extLst>
              <a:ext uri="{28A0092B-C50C-407E-A947-70E740481C1C}">
                <a14:useLocalDpi xmlns:a14="http://schemas.microsoft.com/office/drawing/2010/main" val="0"/>
              </a:ext>
            </a:extLst>
          </a:blip>
          <a:srcRect t="7769"/>
          <a:stretch/>
        </p:blipFill>
        <p:spPr>
          <a:xfrm>
            <a:off x="8334054" y="993059"/>
            <a:ext cx="3426720" cy="3160503"/>
          </a:xfrm>
          <a:prstGeom prst="rect">
            <a:avLst/>
          </a:prstGeom>
        </p:spPr>
      </p:pic>
      <p:sp>
        <p:nvSpPr>
          <p:cNvPr id="29" name="Rectangle 28">
            <a:extLst>
              <a:ext uri="{FF2B5EF4-FFF2-40B4-BE49-F238E27FC236}">
                <a16:creationId xmlns:a16="http://schemas.microsoft.com/office/drawing/2014/main" id="{CDA31E97-877C-46F4-ACD1-13AF2A8CD0C8}"/>
              </a:ext>
            </a:extLst>
          </p:cNvPr>
          <p:cNvSpPr/>
          <p:nvPr userDrawn="1"/>
        </p:nvSpPr>
        <p:spPr>
          <a:xfrm>
            <a:off x="300522" y="257743"/>
            <a:ext cx="11457784" cy="4631137"/>
          </a:xfrm>
          <a:prstGeom prst="rect">
            <a:avLst/>
          </a:prstGeom>
          <a:noFill/>
          <a:ln>
            <a:solidFill>
              <a:srgbClr val="70AB7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hr-HR"/>
          </a:p>
        </p:txBody>
      </p:sp>
    </p:spTree>
    <p:extLst>
      <p:ext uri="{BB962C8B-B14F-4D97-AF65-F5344CB8AC3E}">
        <p14:creationId xmlns:p14="http://schemas.microsoft.com/office/powerpoint/2010/main" val="1714187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pic>
        <p:nvPicPr>
          <p:cNvPr id="8" name="Picture 7" descr="A screenshot of a social media post&#10;&#10;Description generated with very high confidence">
            <a:extLst>
              <a:ext uri="{FF2B5EF4-FFF2-40B4-BE49-F238E27FC236}">
                <a16:creationId xmlns:a16="http://schemas.microsoft.com/office/drawing/2014/main" id="{85AECF22-595C-4753-8957-27EDEEF02B3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8011"/>
            <a:ext cx="12189023" cy="6731924"/>
          </a:xfrm>
          <a:prstGeom prst="rect">
            <a:avLst/>
          </a:prstGeom>
        </p:spPr>
      </p:pic>
      <p:sp>
        <p:nvSpPr>
          <p:cNvPr id="2" name="Title 1">
            <a:extLst>
              <a:ext uri="{FF2B5EF4-FFF2-40B4-BE49-F238E27FC236}">
                <a16:creationId xmlns:a16="http://schemas.microsoft.com/office/drawing/2014/main" id="{DEF5DF56-6C6F-4FA4-960A-61386CE2AC73}"/>
              </a:ext>
            </a:extLst>
          </p:cNvPr>
          <p:cNvSpPr>
            <a:spLocks noGrp="1"/>
          </p:cNvSpPr>
          <p:nvPr>
            <p:ph type="title" hasCustomPrompt="1"/>
          </p:nvPr>
        </p:nvSpPr>
        <p:spPr>
          <a:xfrm>
            <a:off x="338320" y="732294"/>
            <a:ext cx="10515600" cy="1122853"/>
          </a:xfrm>
        </p:spPr>
        <p:txBody>
          <a:bodyPr/>
          <a:lstStyle>
            <a:lvl1pPr>
              <a:defRPr>
                <a:solidFill>
                  <a:srgbClr val="71AB7B"/>
                </a:solidFill>
              </a:defRPr>
            </a:lvl1pPr>
          </a:lstStyle>
          <a:p>
            <a:r>
              <a:rPr lang="en-US" dirty="0"/>
              <a:t>Click to add</a:t>
            </a:r>
            <a:endParaRPr lang="hr-HR" dirty="0"/>
          </a:p>
        </p:txBody>
      </p:sp>
      <p:sp>
        <p:nvSpPr>
          <p:cNvPr id="3" name="Content Placeholder 2">
            <a:extLst>
              <a:ext uri="{FF2B5EF4-FFF2-40B4-BE49-F238E27FC236}">
                <a16:creationId xmlns:a16="http://schemas.microsoft.com/office/drawing/2014/main" id="{A550EB55-35EC-4AE4-AD09-8143716159BB}"/>
              </a:ext>
            </a:extLst>
          </p:cNvPr>
          <p:cNvSpPr>
            <a:spLocks noGrp="1"/>
          </p:cNvSpPr>
          <p:nvPr>
            <p:ph idx="1"/>
          </p:nvPr>
        </p:nvSpPr>
        <p:spPr>
          <a:xfrm>
            <a:off x="399011" y="2269375"/>
            <a:ext cx="11371811" cy="3907588"/>
          </a:xfrm>
          <a:ln>
            <a:solidFill>
              <a:srgbClr val="71AB7B"/>
            </a:solidFill>
          </a:ln>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hr-HR" dirty="0"/>
          </a:p>
        </p:txBody>
      </p:sp>
      <p:sp>
        <p:nvSpPr>
          <p:cNvPr id="7" name="TextBox 6">
            <a:extLst>
              <a:ext uri="{FF2B5EF4-FFF2-40B4-BE49-F238E27FC236}">
                <a16:creationId xmlns:a16="http://schemas.microsoft.com/office/drawing/2014/main" id="{6147BF68-D5F9-4751-9895-7058270DDB84}"/>
              </a:ext>
            </a:extLst>
          </p:cNvPr>
          <p:cNvSpPr txBox="1"/>
          <p:nvPr userDrawn="1"/>
        </p:nvSpPr>
        <p:spPr>
          <a:xfrm>
            <a:off x="2585257" y="6604084"/>
            <a:ext cx="7556270" cy="5078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hr-HR" sz="900" dirty="0">
                <a:solidFill>
                  <a:schemeClr val="bg1">
                    <a:lumMod val="65000"/>
                  </a:schemeClr>
                </a:solidFill>
              </a:rPr>
              <a:t>Kako se pripremiti za novo financijsko razdoblje 2021-2027</a:t>
            </a:r>
            <a:r>
              <a:rPr lang="en-US" sz="900" dirty="0">
                <a:solidFill>
                  <a:schemeClr val="bg1">
                    <a:lumMod val="65000"/>
                  </a:schemeClr>
                </a:solidFill>
              </a:rPr>
              <a:t> | </a:t>
            </a:r>
            <a:r>
              <a:rPr lang="hr-HR" sz="900" dirty="0">
                <a:solidFill>
                  <a:schemeClr val="bg1">
                    <a:lumMod val="65000"/>
                  </a:schemeClr>
                </a:solidFill>
              </a:rPr>
              <a:t>Učimo iz iskustava strateškog razvoja i provedbe EU projekata drugih zemalja članica EU</a:t>
            </a:r>
          </a:p>
          <a:p>
            <a:endParaRPr lang="hr-HR" dirty="0"/>
          </a:p>
        </p:txBody>
      </p:sp>
      <p:pic>
        <p:nvPicPr>
          <p:cNvPr id="9" name="Picture 8">
            <a:extLst>
              <a:ext uri="{FF2B5EF4-FFF2-40B4-BE49-F238E27FC236}">
                <a16:creationId xmlns:a16="http://schemas.microsoft.com/office/drawing/2014/main" id="{B67EFEB0-F2E9-47EB-8B59-4199926E579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56749"/>
          <a:stretch/>
        </p:blipFill>
        <p:spPr>
          <a:xfrm>
            <a:off x="10971773" y="673942"/>
            <a:ext cx="1099397" cy="1181205"/>
          </a:xfrm>
          <a:prstGeom prst="rect">
            <a:avLst/>
          </a:prstGeom>
        </p:spPr>
      </p:pic>
    </p:spTree>
    <p:extLst>
      <p:ext uri="{BB962C8B-B14F-4D97-AF65-F5344CB8AC3E}">
        <p14:creationId xmlns:p14="http://schemas.microsoft.com/office/powerpoint/2010/main" val="28139080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8" name="Picture 7" descr="A screenshot of a social media post&#10;&#10;Description generated with very high confidence">
            <a:extLst>
              <a:ext uri="{FF2B5EF4-FFF2-40B4-BE49-F238E27FC236}">
                <a16:creationId xmlns:a16="http://schemas.microsoft.com/office/drawing/2014/main" id="{85AECF22-595C-4753-8957-27EDEEF02B3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8011"/>
            <a:ext cx="12189023" cy="6731924"/>
          </a:xfrm>
          <a:prstGeom prst="rect">
            <a:avLst/>
          </a:prstGeom>
        </p:spPr>
      </p:pic>
      <p:sp>
        <p:nvSpPr>
          <p:cNvPr id="2" name="Title 1">
            <a:extLst>
              <a:ext uri="{FF2B5EF4-FFF2-40B4-BE49-F238E27FC236}">
                <a16:creationId xmlns:a16="http://schemas.microsoft.com/office/drawing/2014/main" id="{DEF5DF56-6C6F-4FA4-960A-61386CE2AC73}"/>
              </a:ext>
            </a:extLst>
          </p:cNvPr>
          <p:cNvSpPr>
            <a:spLocks noGrp="1"/>
          </p:cNvSpPr>
          <p:nvPr>
            <p:ph type="title" hasCustomPrompt="1"/>
          </p:nvPr>
        </p:nvSpPr>
        <p:spPr>
          <a:xfrm>
            <a:off x="338320" y="732294"/>
            <a:ext cx="10515600" cy="1122853"/>
          </a:xfrm>
        </p:spPr>
        <p:txBody>
          <a:bodyPr/>
          <a:lstStyle>
            <a:lvl1pPr>
              <a:defRPr>
                <a:solidFill>
                  <a:srgbClr val="71AB7B"/>
                </a:solidFill>
              </a:defRPr>
            </a:lvl1pPr>
          </a:lstStyle>
          <a:p>
            <a:r>
              <a:rPr lang="en-US" dirty="0"/>
              <a:t>Click to edit Master title style</a:t>
            </a:r>
            <a:endParaRPr lang="hr-HR" dirty="0"/>
          </a:p>
        </p:txBody>
      </p:sp>
      <p:graphicFrame>
        <p:nvGraphicFramePr>
          <p:cNvPr id="3" name="Object 2">
            <a:extLst>
              <a:ext uri="{FF2B5EF4-FFF2-40B4-BE49-F238E27FC236}">
                <a16:creationId xmlns:a16="http://schemas.microsoft.com/office/drawing/2014/main" id="{97FD0AD0-F2DA-4750-A333-67BD278A061D}"/>
              </a:ext>
            </a:extLst>
          </p:cNvPr>
          <p:cNvGraphicFramePr>
            <a:graphicFrameLocks noChangeAspect="1"/>
          </p:cNvGraphicFramePr>
          <p:nvPr userDrawn="1">
            <p:extLst>
              <p:ext uri="{D42A27DB-BD31-4B8C-83A1-F6EECF244321}">
                <p14:modId xmlns:p14="http://schemas.microsoft.com/office/powerpoint/2010/main" val="243726528"/>
              </p:ext>
            </p:extLst>
          </p:nvPr>
        </p:nvGraphicFramePr>
        <p:xfrm>
          <a:off x="92075" y="92075"/>
          <a:ext cx="444500" cy="296863"/>
        </p:xfrm>
        <a:graphic>
          <a:graphicData uri="http://schemas.openxmlformats.org/presentationml/2006/ole">
            <mc:AlternateContent xmlns:mc="http://schemas.openxmlformats.org/markup-compatibility/2006">
              <mc:Choice xmlns:v="urn:schemas-microsoft-com:vml" Requires="v">
                <p:oleObj spid="_x0000_s3110" name="Packager Shell Object" showAsIcon="1" r:id="rId4" imgW="444960" imgH="297000" progId="Package">
                  <p:embed/>
                </p:oleObj>
              </mc:Choice>
              <mc:Fallback>
                <p:oleObj name="Packager Shell Object" showAsIcon="1" r:id="rId4" imgW="444960" imgH="297000" progId="Package">
                  <p:embed/>
                  <p:pic>
                    <p:nvPicPr>
                      <p:cNvPr id="3" name="Object 2">
                        <a:extLst>
                          <a:ext uri="{FF2B5EF4-FFF2-40B4-BE49-F238E27FC236}">
                            <a16:creationId xmlns:a16="http://schemas.microsoft.com/office/drawing/2014/main" id="{97FD0AD0-F2DA-4750-A333-67BD278A061D}"/>
                          </a:ext>
                        </a:extLst>
                      </p:cNvPr>
                      <p:cNvPicPr/>
                      <p:nvPr/>
                    </p:nvPicPr>
                    <p:blipFill>
                      <a:blip r:embed="rId5"/>
                      <a:stretch>
                        <a:fillRect/>
                      </a:stretch>
                    </p:blipFill>
                    <p:spPr>
                      <a:xfrm>
                        <a:off x="92075" y="92075"/>
                        <a:ext cx="444500" cy="296863"/>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DCC1575-39AA-4DAA-B286-6B8862142660}"/>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56749"/>
          <a:stretch/>
        </p:blipFill>
        <p:spPr>
          <a:xfrm>
            <a:off x="10971773" y="673942"/>
            <a:ext cx="1099397" cy="1181205"/>
          </a:xfrm>
          <a:prstGeom prst="rect">
            <a:avLst/>
          </a:prstGeom>
        </p:spPr>
      </p:pic>
      <p:sp>
        <p:nvSpPr>
          <p:cNvPr id="9" name="TextBox 8">
            <a:extLst>
              <a:ext uri="{FF2B5EF4-FFF2-40B4-BE49-F238E27FC236}">
                <a16:creationId xmlns:a16="http://schemas.microsoft.com/office/drawing/2014/main" id="{EB716EAB-315C-43A7-9003-82831DC79627}"/>
              </a:ext>
            </a:extLst>
          </p:cNvPr>
          <p:cNvSpPr txBox="1"/>
          <p:nvPr userDrawn="1"/>
        </p:nvSpPr>
        <p:spPr>
          <a:xfrm>
            <a:off x="207817" y="6586073"/>
            <a:ext cx="11754197" cy="5386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dirty="0" err="1">
                <a:solidFill>
                  <a:schemeClr val="bg1">
                    <a:lumMod val="65000"/>
                  </a:schemeClr>
                </a:solidFill>
                <a:latin typeface="+mn-lt"/>
                <a:ea typeface="+mn-ea"/>
                <a:cs typeface="+mn-cs"/>
              </a:rPr>
              <a:t>Razmjena</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iskustava</a:t>
            </a:r>
            <a:r>
              <a:rPr lang="en-US" sz="1100" kern="1200" dirty="0">
                <a:solidFill>
                  <a:schemeClr val="bg1">
                    <a:lumMod val="65000"/>
                  </a:schemeClr>
                </a:solidFill>
                <a:latin typeface="+mn-lt"/>
                <a:ea typeface="+mn-ea"/>
                <a:cs typeface="+mn-cs"/>
              </a:rPr>
              <a:t> o </a:t>
            </a:r>
            <a:r>
              <a:rPr lang="en-US" sz="1100" kern="1200" dirty="0" err="1">
                <a:solidFill>
                  <a:schemeClr val="bg1">
                    <a:lumMod val="65000"/>
                  </a:schemeClr>
                </a:solidFill>
                <a:latin typeface="+mn-lt"/>
                <a:ea typeface="+mn-ea"/>
                <a:cs typeface="+mn-cs"/>
              </a:rPr>
              <a:t>ključnim</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izazovima</a:t>
            </a:r>
            <a:r>
              <a:rPr lang="en-US" sz="1100" kern="1200" dirty="0">
                <a:solidFill>
                  <a:schemeClr val="bg1">
                    <a:lumMod val="65000"/>
                  </a:schemeClr>
                </a:solidFill>
                <a:latin typeface="+mn-lt"/>
                <a:ea typeface="+mn-ea"/>
                <a:cs typeface="+mn-cs"/>
              </a:rPr>
              <a:t> u </a:t>
            </a:r>
            <a:r>
              <a:rPr lang="en-US" sz="1100" kern="1200" dirty="0" err="1">
                <a:solidFill>
                  <a:schemeClr val="bg1">
                    <a:lumMod val="65000"/>
                  </a:schemeClr>
                </a:solidFill>
                <a:latin typeface="+mn-lt"/>
                <a:ea typeface="+mn-ea"/>
                <a:cs typeface="+mn-cs"/>
              </a:rPr>
              <a:t>praksi</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javne</a:t>
            </a:r>
            <a:r>
              <a:rPr lang="en-US" sz="1100" kern="1200" dirty="0">
                <a:solidFill>
                  <a:schemeClr val="bg1">
                    <a:lumMod val="65000"/>
                  </a:schemeClr>
                </a:solidFill>
                <a:latin typeface="+mn-lt"/>
                <a:ea typeface="+mn-ea"/>
                <a:cs typeface="+mn-cs"/>
              </a:rPr>
              <a:t> </a:t>
            </a:r>
            <a:r>
              <a:rPr lang="en-US" sz="1100" kern="1200" dirty="0" err="1">
                <a:solidFill>
                  <a:schemeClr val="bg1">
                    <a:lumMod val="65000"/>
                  </a:schemeClr>
                </a:solidFill>
                <a:latin typeface="+mn-lt"/>
                <a:ea typeface="+mn-ea"/>
                <a:cs typeface="+mn-cs"/>
              </a:rPr>
              <a:t>nabave</a:t>
            </a:r>
            <a:endParaRPr lang="en-US" sz="1100" kern="1200" dirty="0">
              <a:solidFill>
                <a:schemeClr val="bg1">
                  <a:lumMod val="65000"/>
                </a:schemeClr>
              </a:solidFill>
              <a:latin typeface="+mn-lt"/>
              <a:ea typeface="+mn-ea"/>
              <a:cs typeface="+mn-cs"/>
            </a:endParaRPr>
          </a:p>
          <a:p>
            <a:endParaRPr lang="hr-HR" dirty="0"/>
          </a:p>
        </p:txBody>
      </p:sp>
    </p:spTree>
    <p:extLst>
      <p:ext uri="{BB962C8B-B14F-4D97-AF65-F5344CB8AC3E}">
        <p14:creationId xmlns:p14="http://schemas.microsoft.com/office/powerpoint/2010/main" val="3117348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D884B5-C999-4FA3-B783-66F11C2D0579}" type="datetimeFigureOut">
              <a:rPr lang="en-US" smtClean="0">
                <a:solidFill>
                  <a:srgbClr val="696464"/>
                </a:solidFill>
              </a:rPr>
              <a:pPr/>
              <a:t>10/23/2019</a:t>
            </a:fld>
            <a:endParaRPr lang="en-US">
              <a:solidFill>
                <a:srgbClr val="696464"/>
              </a:solidFill>
            </a:endParaRPr>
          </a:p>
        </p:txBody>
      </p:sp>
      <p:sp>
        <p:nvSpPr>
          <p:cNvPr id="3" name="Footer Placeholder 2"/>
          <p:cNvSpPr>
            <a:spLocks noGrp="1"/>
          </p:cNvSpPr>
          <p:nvPr>
            <p:ph type="ftr" sz="quarter" idx="11"/>
          </p:nvPr>
        </p:nvSpPr>
        <p:spPr/>
        <p:txBody>
          <a:bodyPr/>
          <a:lstStyle/>
          <a:p>
            <a:endParaRPr lang="en-US">
              <a:solidFill>
                <a:srgbClr val="696464"/>
              </a:solidFill>
            </a:endParaRPr>
          </a:p>
        </p:txBody>
      </p:sp>
      <p:sp>
        <p:nvSpPr>
          <p:cNvPr id="4" name="Slide Number Placeholder 3"/>
          <p:cNvSpPr>
            <a:spLocks noGrp="1"/>
          </p:cNvSpPr>
          <p:nvPr>
            <p:ph type="sldNum" sz="quarter" idx="12"/>
          </p:nvPr>
        </p:nvSpPr>
        <p:spPr/>
        <p:txBody>
          <a:bodyPr/>
          <a:lstStyle/>
          <a:p>
            <a:fld id="{8AD6A1BA-F535-4998-B122-5EEC82DBA69C}" type="slidenum">
              <a:rPr lang="en-US" smtClean="0"/>
              <a:pPr/>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86085" y="5519883"/>
            <a:ext cx="2652105" cy="1152891"/>
          </a:xfrm>
          <a:prstGeom prst="rect">
            <a:avLst/>
          </a:prstGeom>
        </p:spPr>
      </p:pic>
    </p:spTree>
    <p:extLst>
      <p:ext uri="{BB962C8B-B14F-4D97-AF65-F5344CB8AC3E}">
        <p14:creationId xmlns:p14="http://schemas.microsoft.com/office/powerpoint/2010/main" val="2948308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image" Target="../media/image5.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a:extLst>
              <a:ext uri="{FF2B5EF4-FFF2-40B4-BE49-F238E27FC236}">
                <a16:creationId xmlns:a16="http://schemas.microsoft.com/office/drawing/2014/main" id="{FE84E2C8-B878-4E2B-AA38-AF1FBC17028C}"/>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en-US"/>
              <a:t>Textmasterformate durch Klicken bearbeiten</a:t>
            </a:r>
          </a:p>
          <a:p>
            <a:pPr lvl="1"/>
            <a:r>
              <a:rPr lang="de-DE" altLang="en-US"/>
              <a:t>Zweite Ebene</a:t>
            </a:r>
          </a:p>
          <a:p>
            <a:pPr lvl="2"/>
            <a:r>
              <a:rPr lang="de-DE" altLang="en-US"/>
              <a:t>Dritte Ebene</a:t>
            </a:r>
          </a:p>
          <a:p>
            <a:pPr lvl="3"/>
            <a:r>
              <a:rPr lang="de-DE" altLang="en-US"/>
              <a:t>Vierte Ebene</a:t>
            </a:r>
          </a:p>
          <a:p>
            <a:pPr lvl="4"/>
            <a:r>
              <a:rPr lang="de-DE" altLang="en-US"/>
              <a:t>Fünfte Ebene</a:t>
            </a:r>
          </a:p>
        </p:txBody>
      </p:sp>
      <p:sp>
        <p:nvSpPr>
          <p:cNvPr id="1028" name="Rectangle 4">
            <a:extLst>
              <a:ext uri="{FF2B5EF4-FFF2-40B4-BE49-F238E27FC236}">
                <a16:creationId xmlns:a16="http://schemas.microsoft.com/office/drawing/2014/main" id="{33DA9285-4FB6-254E-BDDC-BE8CC2ECE7A7}"/>
              </a:ext>
            </a:extLst>
          </p:cNvPr>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charset="0"/>
                <a:cs typeface="+mn-cs"/>
              </a:defRPr>
            </a:lvl1pPr>
          </a:lstStyle>
          <a:p>
            <a:pPr>
              <a:defRPr/>
            </a:pPr>
            <a:endParaRPr lang="de-DE"/>
          </a:p>
        </p:txBody>
      </p:sp>
      <p:sp>
        <p:nvSpPr>
          <p:cNvPr id="1030" name="Rectangle 6">
            <a:extLst>
              <a:ext uri="{FF2B5EF4-FFF2-40B4-BE49-F238E27FC236}">
                <a16:creationId xmlns:a16="http://schemas.microsoft.com/office/drawing/2014/main" id="{3FAAEF3D-368C-094B-B71B-C8672A5B8C9D}"/>
              </a:ext>
            </a:extLst>
          </p:cNvPr>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13E4A630-0B46-4C69-A490-0723B2C4C45B}" type="slidenum">
              <a:rPr lang="de-DE" altLang="en-US"/>
              <a:pPr>
                <a:defRPr/>
              </a:pPr>
              <a:t>‹#›</a:t>
            </a:fld>
            <a:endParaRPr lang="de-DE" altLang="en-US"/>
          </a:p>
        </p:txBody>
      </p:sp>
      <p:graphicFrame>
        <p:nvGraphicFramePr>
          <p:cNvPr id="1034" name="Group 10">
            <a:extLst>
              <a:ext uri="{FF2B5EF4-FFF2-40B4-BE49-F238E27FC236}">
                <a16:creationId xmlns:a16="http://schemas.microsoft.com/office/drawing/2014/main" id="{64810061-B3BB-9A45-9738-F58C97C52FF9}"/>
              </a:ext>
            </a:extLst>
          </p:cNvPr>
          <p:cNvGraphicFramePr>
            <a:graphicFrameLocks noGrp="1"/>
          </p:cNvGraphicFramePr>
          <p:nvPr/>
        </p:nvGraphicFramePr>
        <p:xfrm>
          <a:off x="334434" y="1111250"/>
          <a:ext cx="11523133" cy="517576"/>
        </p:xfrm>
        <a:graphic>
          <a:graphicData uri="http://schemas.openxmlformats.org/drawingml/2006/table">
            <a:tbl>
              <a:tblPr/>
              <a:tblGrid>
                <a:gridCol w="11523133">
                  <a:extLst>
                    <a:ext uri="{9D8B030D-6E8A-4147-A177-3AD203B41FA5}">
                      <a16:colId xmlns:a16="http://schemas.microsoft.com/office/drawing/2014/main" val="20000"/>
                    </a:ext>
                  </a:extLst>
                </a:gridCol>
              </a:tblGrid>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2800" b="0" i="0" u="none" strike="noStrike" cap="none" normalizeH="0" baseline="0" dirty="0">
                        <a:ln>
                          <a:noFill/>
                        </a:ln>
                        <a:solidFill>
                          <a:schemeClr val="tx1"/>
                        </a:solidFill>
                        <a:effectLst/>
                        <a:latin typeface="Arial" charset="0"/>
                        <a:ea typeface="ＭＳ Ｐゴシック" charset="0"/>
                      </a:endParaRPr>
                    </a:p>
                  </a:txBody>
                  <a:tcPr marL="121920" marR="121920" marT="45428" marB="45428" horzOverflow="overflow">
                    <a:lnL cap="flat">
                      <a:noFill/>
                    </a:lnL>
                    <a:lnR cap="flat">
                      <a:noFill/>
                    </a:lnR>
                    <a:lnT w="38100" cap="flat" cmpd="sng" algn="ctr">
                      <a:solidFill>
                        <a:srgbClr val="A50021"/>
                      </a:solidFill>
                      <a:prstDash val="solid"/>
                      <a:round/>
                      <a:headEnd type="none" w="med" len="med"/>
                      <a:tailEnd type="none" w="med" len="med"/>
                    </a:lnT>
                    <a:lnB cap="flat">
                      <a:noFill/>
                    </a:lnB>
                    <a:lnTlToBr>
                      <a:noFill/>
                    </a:lnTlToBr>
                    <a:lnBlToTr>
                      <a:noFill/>
                    </a:lnBlToTr>
                    <a:noFill/>
                  </a:tcPr>
                </a:tc>
                <a:extLst>
                  <a:ext uri="{0D108BD9-81ED-4DB2-BD59-A6C34878D82A}">
                    <a16:rowId xmlns:a16="http://schemas.microsoft.com/office/drawing/2014/main" val="10000"/>
                  </a:ext>
                </a:extLst>
              </a:tr>
            </a:tbl>
          </a:graphicData>
        </a:graphic>
      </p:graphicFrame>
      <p:pic>
        <p:nvPicPr>
          <p:cNvPr id="1032" name="Picture 4">
            <a:extLst>
              <a:ext uri="{FF2B5EF4-FFF2-40B4-BE49-F238E27FC236}">
                <a16:creationId xmlns:a16="http://schemas.microsoft.com/office/drawing/2014/main" id="{700FA5DD-A645-46EE-BBDE-F7693DC89622}"/>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605367" y="130175"/>
            <a:ext cx="4284133" cy="86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6">
            <a:extLst>
              <a:ext uri="{FF2B5EF4-FFF2-40B4-BE49-F238E27FC236}">
                <a16:creationId xmlns:a16="http://schemas.microsoft.com/office/drawing/2014/main" id="{5E70D5F8-997E-451A-AB9C-195333E5282B}"/>
              </a:ext>
            </a:extLst>
          </p:cNvPr>
          <p:cNvPicPr>
            <a:picLocks noChangeAspect="1" noChangeArrowheads="1"/>
          </p:cNvPicPr>
          <p:nvPr userDrawn="1"/>
        </p:nvPicPr>
        <p:blipFill>
          <a:blip r:embed="rId13" cstate="hqprint">
            <a:extLst>
              <a:ext uri="{28A0092B-C50C-407E-A947-70E740481C1C}">
                <a14:useLocalDpi xmlns:a14="http://schemas.microsoft.com/office/drawing/2010/main" val="0"/>
              </a:ext>
            </a:extLst>
          </a:blip>
          <a:srcRect/>
          <a:stretch>
            <a:fillRect/>
          </a:stretch>
        </p:blipFill>
        <p:spPr bwMode="auto">
          <a:xfrm>
            <a:off x="4889500" y="122239"/>
            <a:ext cx="1151467"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0">
            <a:extLst>
              <a:ext uri="{FF2B5EF4-FFF2-40B4-BE49-F238E27FC236}">
                <a16:creationId xmlns:a16="http://schemas.microsoft.com/office/drawing/2014/main" id="{59954D7B-419C-4084-B5EF-254EE0DAABDE}"/>
              </a:ext>
            </a:extLst>
          </p:cNvPr>
          <p:cNvPicPr>
            <a:picLocks noChangeAspect="1" noChangeArrowheads="1"/>
          </p:cNvPicPr>
          <p:nvPr userDrawn="1"/>
        </p:nvPicPr>
        <p:blipFill>
          <a:blip r:embed="rId14" cstate="hqprint">
            <a:extLst>
              <a:ext uri="{28A0092B-C50C-407E-A947-70E740481C1C}">
                <a14:useLocalDpi xmlns:a14="http://schemas.microsoft.com/office/drawing/2010/main" val="0"/>
              </a:ext>
            </a:extLst>
          </a:blip>
          <a:srcRect/>
          <a:stretch>
            <a:fillRect/>
          </a:stretch>
        </p:blipFill>
        <p:spPr bwMode="auto">
          <a:xfrm>
            <a:off x="6157385" y="177801"/>
            <a:ext cx="1020233"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5" name="Picture 12">
            <a:extLst>
              <a:ext uri="{FF2B5EF4-FFF2-40B4-BE49-F238E27FC236}">
                <a16:creationId xmlns:a16="http://schemas.microsoft.com/office/drawing/2014/main" id="{F2D45121-1B1E-4A7F-8B52-DE4D52C0E2B7}"/>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7344834" y="333376"/>
            <a:ext cx="2313517"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4">
            <a:extLst>
              <a:ext uri="{FF2B5EF4-FFF2-40B4-BE49-F238E27FC236}">
                <a16:creationId xmlns:a16="http://schemas.microsoft.com/office/drawing/2014/main" id="{C0CB5EBF-9952-48A9-82F2-930A5C340D35}"/>
              </a:ext>
            </a:extLst>
          </p:cNvPr>
          <p:cNvPicPr>
            <a:picLocks noChangeAspect="1" noChangeArrowheads="1"/>
          </p:cNvPicPr>
          <p:nvPr userDrawn="1"/>
        </p:nvPicPr>
        <p:blipFill>
          <a:blip r:embed="rId16" cstate="hqprint">
            <a:extLst>
              <a:ext uri="{28A0092B-C50C-407E-A947-70E740481C1C}">
                <a14:useLocalDpi xmlns:a14="http://schemas.microsoft.com/office/drawing/2010/main" val="0"/>
              </a:ext>
            </a:extLst>
          </a:blip>
          <a:srcRect/>
          <a:stretch>
            <a:fillRect/>
          </a:stretch>
        </p:blipFill>
        <p:spPr bwMode="auto">
          <a:xfrm>
            <a:off x="9939867" y="233363"/>
            <a:ext cx="164253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85797267"/>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6" r:id="rId5"/>
    <p:sldLayoutId id="2147483673" r:id="rId6"/>
    <p:sldLayoutId id="2147483674" r:id="rId7"/>
    <p:sldLayoutId id="2147483675" r:id="rId8"/>
    <p:sldLayoutId id="2147483678" r:id="rId9"/>
    <p:sldLayoutId id="2147483679" r:id="rId10"/>
  </p:sldLayoutIdLst>
  <p:txStyles>
    <p:titleStyle>
      <a:lvl1pPr algn="ctr" rtl="0" eaLnBrk="0" fontAlgn="base" hangingPunct="0">
        <a:spcBef>
          <a:spcPct val="0"/>
        </a:spcBef>
        <a:spcAft>
          <a:spcPct val="0"/>
        </a:spcAft>
        <a:defRPr sz="4400">
          <a:solidFill>
            <a:schemeClr val="tx2"/>
          </a:solidFill>
          <a:latin typeface="+mj-lt"/>
          <a:ea typeface="+mj-ea"/>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ea typeface="ＭＳ Ｐゴシック" charset="0"/>
        </a:defRPr>
      </a:lvl6pPr>
      <a:lvl7pPr marL="914400" algn="ctr" rtl="0" fontAlgn="base">
        <a:spcBef>
          <a:spcPct val="0"/>
        </a:spcBef>
        <a:spcAft>
          <a:spcPct val="0"/>
        </a:spcAft>
        <a:defRPr sz="4400">
          <a:solidFill>
            <a:schemeClr val="tx2"/>
          </a:solidFill>
          <a:latin typeface="Arial" charset="0"/>
          <a:ea typeface="ＭＳ Ｐゴシック" charset="0"/>
        </a:defRPr>
      </a:lvl7pPr>
      <a:lvl8pPr marL="1371600" algn="ctr" rtl="0" fontAlgn="base">
        <a:spcBef>
          <a:spcPct val="0"/>
        </a:spcBef>
        <a:spcAft>
          <a:spcPct val="0"/>
        </a:spcAft>
        <a:defRPr sz="4400">
          <a:solidFill>
            <a:schemeClr val="tx2"/>
          </a:solidFill>
          <a:latin typeface="Arial" charset="0"/>
          <a:ea typeface="ＭＳ Ｐゴシック" charset="0"/>
        </a:defRPr>
      </a:lvl8pPr>
      <a:lvl9pPr marL="1828800" algn="ctr" rtl="0" fontAlgn="base">
        <a:spcBef>
          <a:spcPct val="0"/>
        </a:spcBef>
        <a:spcAft>
          <a:spcPct val="0"/>
        </a:spcAft>
        <a:defRPr sz="4400">
          <a:solidFill>
            <a:schemeClr val="tx2"/>
          </a:solidFill>
          <a:latin typeface="Arial" charset="0"/>
          <a:ea typeface="ＭＳ Ｐゴシック"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ＭＳ Ｐゴシック" charset="0"/>
        </a:defRPr>
      </a:lvl1pPr>
      <a:lvl2pPr marL="742950" indent="-285750" algn="l" rtl="0" eaLnBrk="0" fontAlgn="base" hangingPunct="0">
        <a:spcBef>
          <a:spcPct val="20000"/>
        </a:spcBef>
        <a:spcAft>
          <a:spcPct val="0"/>
        </a:spcAft>
        <a:buChar char="–"/>
        <a:defRPr sz="2800">
          <a:solidFill>
            <a:schemeClr val="accent2"/>
          </a:solidFill>
          <a:latin typeface="+mn-lt"/>
          <a:ea typeface="+mn-ea"/>
        </a:defRPr>
      </a:lvl2pPr>
      <a:lvl3pPr marL="1143000" indent="-228600" algn="l" rtl="0" eaLnBrk="0" fontAlgn="base" hangingPunct="0">
        <a:spcBef>
          <a:spcPct val="20000"/>
        </a:spcBef>
        <a:spcAft>
          <a:spcPct val="0"/>
        </a:spcAft>
        <a:buChar char="•"/>
        <a:defRPr sz="2400">
          <a:solidFill>
            <a:schemeClr val="tx1"/>
          </a:solidFill>
          <a:latin typeface="+mn-lt"/>
          <a:ea typeface="+mn-ea"/>
        </a:defRPr>
      </a:lvl3pPr>
      <a:lvl4pPr marL="1600200" indent="-228600" algn="l" rtl="0" eaLnBrk="0" fontAlgn="base" hangingPunct="0">
        <a:spcBef>
          <a:spcPct val="20000"/>
        </a:spcBef>
        <a:spcAft>
          <a:spcPct val="0"/>
        </a:spcAft>
        <a:buChar char="–"/>
        <a:defRPr sz="2000">
          <a:solidFill>
            <a:schemeClr val="tx1"/>
          </a:solidFill>
          <a:latin typeface="+mn-lt"/>
          <a:ea typeface="+mn-ea"/>
        </a:defRPr>
      </a:lvl4pPr>
      <a:lvl5pPr marL="2057400" indent="-228600" algn="l" rtl="0" eaLnBrk="0" fontAlgn="base" hangingPunct="0">
        <a:spcBef>
          <a:spcPct val="20000"/>
        </a:spcBef>
        <a:spcAft>
          <a:spcPct val="0"/>
        </a:spcAft>
        <a:buChar char="»"/>
        <a:defRPr sz="2000">
          <a:solidFill>
            <a:schemeClr val="tx1"/>
          </a:solidFill>
          <a:latin typeface="+mn-lt"/>
          <a:ea typeface="+mn-ea"/>
        </a:defRPr>
      </a:lvl5pPr>
      <a:lvl6pPr marL="2514600" indent="-228600" algn="l" rtl="0" fontAlgn="base">
        <a:spcBef>
          <a:spcPct val="20000"/>
        </a:spcBef>
        <a:spcAft>
          <a:spcPct val="0"/>
        </a:spcAft>
        <a:buChar char="»"/>
        <a:defRPr sz="2000">
          <a:solidFill>
            <a:schemeClr val="tx1"/>
          </a:solidFill>
          <a:latin typeface="+mn-lt"/>
          <a:ea typeface="+mn-ea"/>
        </a:defRPr>
      </a:lvl6pPr>
      <a:lvl7pPr marL="2971800" indent="-228600" algn="l" rtl="0" fontAlgn="base">
        <a:spcBef>
          <a:spcPct val="20000"/>
        </a:spcBef>
        <a:spcAft>
          <a:spcPct val="0"/>
        </a:spcAft>
        <a:buChar char="»"/>
        <a:defRPr sz="2000">
          <a:solidFill>
            <a:schemeClr val="tx1"/>
          </a:solidFill>
          <a:latin typeface="+mn-lt"/>
          <a:ea typeface="+mn-ea"/>
        </a:defRPr>
      </a:lvl7pPr>
      <a:lvl8pPr marL="3429000" indent="-228600" algn="l" rtl="0" fontAlgn="base">
        <a:spcBef>
          <a:spcPct val="20000"/>
        </a:spcBef>
        <a:spcAft>
          <a:spcPct val="0"/>
        </a:spcAft>
        <a:buChar char="»"/>
        <a:defRPr sz="2000">
          <a:solidFill>
            <a:schemeClr val="tx1"/>
          </a:solidFill>
          <a:latin typeface="+mn-lt"/>
          <a:ea typeface="+mn-ea"/>
        </a:defRPr>
      </a:lvl8pPr>
      <a:lvl9pPr marL="3886200" indent="-228600" algn="l" rtl="0" fontAlgn="base">
        <a:spcBef>
          <a:spcPct val="20000"/>
        </a:spcBef>
        <a:spcAft>
          <a:spcPct val="0"/>
        </a:spcAft>
        <a:buChar char="»"/>
        <a:defRPr sz="20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31.jpeg"/><Relationship Id="rId7" Type="http://schemas.openxmlformats.org/officeDocument/2006/relationships/diagramData" Target="../diagrams/data2.xml"/><Relationship Id="rId2" Type="http://schemas.openxmlformats.org/officeDocument/2006/relationships/image" Target="../media/image30.jpeg"/><Relationship Id="rId1" Type="http://schemas.openxmlformats.org/officeDocument/2006/relationships/slideLayout" Target="../slideLayouts/slideLayout2.xml"/><Relationship Id="rId6" Type="http://schemas.openxmlformats.org/officeDocument/2006/relationships/image" Target="../media/image34.jpeg"/><Relationship Id="rId11" Type="http://schemas.microsoft.com/office/2007/relationships/diagramDrawing" Target="../diagrams/drawing2.xml"/><Relationship Id="rId5" Type="http://schemas.openxmlformats.org/officeDocument/2006/relationships/image" Target="../media/image33.jpeg"/><Relationship Id="rId10" Type="http://schemas.openxmlformats.org/officeDocument/2006/relationships/diagramColors" Target="../diagrams/colors2.xml"/><Relationship Id="rId4" Type="http://schemas.openxmlformats.org/officeDocument/2006/relationships/image" Target="../media/image32.png"/><Relationship Id="rId9"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4.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3" Type="http://schemas.openxmlformats.org/officeDocument/2006/relationships/image" Target="../media/image35.wmf"/><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w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hyperlink" Target="http://procurement.gov.ge/getattachment/ELibrary/StrategyActionPlan/DCFTA-(31-03-16).pdf.aspx"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24.jpeg"/><Relationship Id="rId2" Type="http://schemas.openxmlformats.org/officeDocument/2006/relationships/diagramData" Target="../diagrams/data5.xml"/><Relationship Id="rId1" Type="http://schemas.openxmlformats.org/officeDocument/2006/relationships/slideLayout" Target="../slideLayouts/slideLayout4.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image" Target="../media/image18.jpeg"/><Relationship Id="rId1" Type="http://schemas.openxmlformats.org/officeDocument/2006/relationships/slideLayout" Target="../slideLayouts/slideLayout4.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42.jpeg"/></Relationships>
</file>

<file path=ppt/slides/_rels/slide24.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5.xml.rels><?xml version="1.0" encoding="UTF-8" standalone="yes"?>
<Relationships xmlns="http://schemas.openxmlformats.org/package/2006/relationships"><Relationship Id="rId8" Type="http://schemas.openxmlformats.org/officeDocument/2006/relationships/hyperlink" Target="http://www.google.com/url?sa=i&amp;rct=j&amp;q=&amp;esrc=s&amp;frm=1&amp;source=images&amp;cd=&amp;cad=rja&amp;docid=2zbVO_20WUKr-M&amp;tbnid=Rd9b49cDWIKQvM:&amp;ved=0CAUQjRw&amp;url=http://acumen.org/blog/our-world/navel-gazing-101-why-the-world-banks-poverty-estimates-miss-the-point/&amp;ei=3qS4Ud77O4PJ0wG41oDwCw&amp;bvm=bv.47810305,d.dmg&amp;psig=AFQjCNHx1m4vJeUWmwpjKWbGDaN84K8Jdw&amp;ust=1371141723644979" TargetMode="External"/><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 Id="rId9" Type="http://schemas.openxmlformats.org/officeDocument/2006/relationships/image" Target="../media/image45.jpeg"/></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slideLayout" Target="../slideLayouts/slideLayout10.xml"/><Relationship Id="rId7" Type="http://schemas.openxmlformats.org/officeDocument/2006/relationships/diagramData" Target="../diagrams/data9.xml"/><Relationship Id="rId2" Type="http://schemas.openxmlformats.org/officeDocument/2006/relationships/tags" Target="../tags/tag2.xml"/><Relationship Id="rId1" Type="http://schemas.openxmlformats.org/officeDocument/2006/relationships/vmlDrawing" Target="../drawings/vmlDrawing3.vml"/><Relationship Id="rId6" Type="http://schemas.openxmlformats.org/officeDocument/2006/relationships/image" Target="../media/image13.emf"/><Relationship Id="rId11" Type="http://schemas.microsoft.com/office/2007/relationships/diagramDrawing" Target="../diagrams/drawing9.xml"/><Relationship Id="rId5" Type="http://schemas.openxmlformats.org/officeDocument/2006/relationships/oleObject" Target="../embeddings/oleObject4.bin"/><Relationship Id="rId10" Type="http://schemas.openxmlformats.org/officeDocument/2006/relationships/diagramColors" Target="../diagrams/colors9.xml"/><Relationship Id="rId4" Type="http://schemas.openxmlformats.org/officeDocument/2006/relationships/notesSlide" Target="../notesSlides/notesSlide9.xml"/><Relationship Id="rId9" Type="http://schemas.openxmlformats.org/officeDocument/2006/relationships/diagramQuickStyle" Target="../diagrams/quickStyle9.xml"/></Relationships>
</file>

<file path=ppt/slides/_rels/slide27.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4.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5.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hyperlink" Target="mailto:cyukins@law.gwu.edu" TargetMode="Externa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13" Type="http://schemas.openxmlformats.org/officeDocument/2006/relationships/image" Target="../media/image26.png"/><Relationship Id="rId3" Type="http://schemas.openxmlformats.org/officeDocument/2006/relationships/image" Target="../media/image16.jpeg"/><Relationship Id="rId7" Type="http://schemas.openxmlformats.org/officeDocument/2006/relationships/image" Target="../media/image20.jpeg"/><Relationship Id="rId12" Type="http://schemas.openxmlformats.org/officeDocument/2006/relationships/image" Target="../media/image25.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19.wmf"/><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jpeg"/><Relationship Id="rId9" Type="http://schemas.openxmlformats.org/officeDocument/2006/relationships/image" Target="../media/image22.jpe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E4DE5-05C4-499A-B442-90FA9B17CE38}"/>
              </a:ext>
            </a:extLst>
          </p:cNvPr>
          <p:cNvSpPr>
            <a:spLocks noGrp="1"/>
          </p:cNvSpPr>
          <p:nvPr>
            <p:ph type="title"/>
          </p:nvPr>
        </p:nvSpPr>
        <p:spPr/>
        <p:txBody>
          <a:bodyPr>
            <a:normAutofit fontScale="90000"/>
          </a:bodyPr>
          <a:lstStyle/>
          <a:p>
            <a:r>
              <a:rPr lang="en-US" b="1" dirty="0"/>
              <a:t>Aspects of a Thorough Anti-Corruption Strategy for Public Procurement</a:t>
            </a:r>
            <a:endParaRPr lang="en-US" dirty="0"/>
          </a:p>
        </p:txBody>
      </p:sp>
      <p:sp>
        <p:nvSpPr>
          <p:cNvPr id="4" name="Text Placeholder 3">
            <a:extLst>
              <a:ext uri="{FF2B5EF4-FFF2-40B4-BE49-F238E27FC236}">
                <a16:creationId xmlns:a16="http://schemas.microsoft.com/office/drawing/2014/main" id="{37438341-F848-4EAE-9595-15EDEC6C4CF4}"/>
              </a:ext>
            </a:extLst>
          </p:cNvPr>
          <p:cNvSpPr>
            <a:spLocks noGrp="1"/>
          </p:cNvSpPr>
          <p:nvPr>
            <p:ph type="body" idx="1"/>
          </p:nvPr>
        </p:nvSpPr>
        <p:spPr/>
        <p:txBody>
          <a:bodyPr/>
          <a:lstStyle/>
          <a:p>
            <a:r>
              <a:rPr lang="en-US" dirty="0"/>
              <a:t>11:30-13:00</a:t>
            </a:r>
          </a:p>
        </p:txBody>
      </p:sp>
    </p:spTree>
    <p:extLst>
      <p:ext uri="{BB962C8B-B14F-4D97-AF65-F5344CB8AC3E}">
        <p14:creationId xmlns:p14="http://schemas.microsoft.com/office/powerpoint/2010/main" val="14629613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0A4AA9-9EAF-4343-96EA-0F915A470D9A}"/>
              </a:ext>
            </a:extLst>
          </p:cNvPr>
          <p:cNvPicPr>
            <a:picLocks noChangeAspect="1"/>
          </p:cNvPicPr>
          <p:nvPr/>
        </p:nvPicPr>
        <p:blipFill>
          <a:blip r:embed="rId2"/>
          <a:stretch>
            <a:fillRect/>
          </a:stretch>
        </p:blipFill>
        <p:spPr>
          <a:xfrm>
            <a:off x="807691" y="1114425"/>
            <a:ext cx="10379422" cy="4629150"/>
          </a:xfrm>
          <a:prstGeom prst="rect">
            <a:avLst/>
          </a:prstGeom>
        </p:spPr>
      </p:pic>
    </p:spTree>
    <p:extLst>
      <p:ext uri="{BB962C8B-B14F-4D97-AF65-F5344CB8AC3E}">
        <p14:creationId xmlns:p14="http://schemas.microsoft.com/office/powerpoint/2010/main" val="23612119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9691689" y="2095501"/>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defTabSz="685800" fontAlgn="base">
              <a:spcBef>
                <a:spcPct val="0"/>
              </a:spcBef>
              <a:spcAft>
                <a:spcPct val="0"/>
              </a:spcAft>
            </a:pPr>
            <a:r>
              <a:rPr lang="en-US" altLang="en-US" sz="1050" b="1">
                <a:solidFill>
                  <a:prstClr val="black"/>
                </a:solidFill>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86813" y="2643188"/>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520113" y="4120753"/>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68079" y="1846661"/>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24000" y="3987404"/>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05726" y="1859757"/>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1524000" y="1388270"/>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685800" fontAlgn="base">
              <a:spcBef>
                <a:spcPct val="0"/>
              </a:spcBef>
              <a:spcAft>
                <a:spcPct val="0"/>
              </a:spcAft>
            </a:pPr>
            <a:endParaRPr lang="en-US" altLang="en-US" sz="1500" dirty="0">
              <a:solidFill>
                <a:prstClr val="white"/>
              </a:solidFill>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3048001" y="1688749"/>
          <a:ext cx="6240011" cy="419770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a:xfrm>
            <a:off x="195072" y="6210300"/>
            <a:ext cx="609600" cy="457200"/>
          </a:xfrm>
          <a:prstGeom prst="ellipse">
            <a:avLst/>
          </a:prstGeom>
          <a:solidFill>
            <a:schemeClr val="accent1"/>
          </a:solidFill>
        </p:spPr>
        <p:txBody>
          <a:bodyPr wrap="none" lIns="0" tIns="0" rIns="0" bIns="0" anchor="ctr" anchorCtr="1">
            <a:noAutofit/>
          </a:bodyPr>
          <a:lstStyle>
            <a:defPPr>
              <a:defRPr lang="en-US"/>
            </a:defPPr>
            <a:lvl1pPr marL="0" algn="ctr" defTabSz="914400" rtl="0" eaLnBrk="1" latinLnBrk="0" hangingPunct="1">
              <a:defRPr kumimoji="0" sz="1400" kern="1200">
                <a:solidFill>
                  <a:srgbClr val="FFFFFF"/>
                </a:solidFill>
                <a:latin typeface="+mj-lt"/>
                <a:ea typeface="+mj-ea"/>
                <a:cs typeface="+mj-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685800" fontAlgn="base">
              <a:spcBef>
                <a:spcPct val="0"/>
              </a:spcBef>
              <a:spcAft>
                <a:spcPct val="0"/>
              </a:spcAft>
            </a:pPr>
            <a:fld id="{8AD6A1BA-F535-4998-B122-5EEC82DBA69C}" type="slidenum">
              <a:rPr lang="en-US" smtClean="0"/>
              <a:pPr defTabSz="685800" fontAlgn="base">
                <a:spcBef>
                  <a:spcPct val="0"/>
                </a:spcBef>
                <a:spcAft>
                  <a:spcPct val="0"/>
                </a:spcAft>
              </a:pPr>
              <a:t>11</a:t>
            </a:fld>
            <a:endParaRPr lang="pt-PT" altLang="en-US">
              <a:solidFill>
                <a:srgbClr val="898989"/>
              </a:solidFill>
              <a:cs typeface="Arial" panose="020B0604020202020204" pitchFamily="34" charset="0"/>
            </a:endParaRPr>
          </a:p>
        </p:txBody>
      </p:sp>
    </p:spTree>
    <p:extLst>
      <p:ext uri="{BB962C8B-B14F-4D97-AF65-F5344CB8AC3E}">
        <p14:creationId xmlns:p14="http://schemas.microsoft.com/office/powerpoint/2010/main" val="3088339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75646DE-4E8C-402B-BB15-A07065D59006}"/>
              </a:ext>
            </a:extLst>
          </p:cNvPr>
          <p:cNvSpPr>
            <a:spLocks noGrp="1"/>
          </p:cNvSpPr>
          <p:nvPr>
            <p:ph type="title"/>
          </p:nvPr>
        </p:nvSpPr>
        <p:spPr/>
        <p:txBody>
          <a:bodyPr/>
          <a:lstStyle/>
          <a:p>
            <a:r>
              <a:rPr lang="en-US" dirty="0"/>
              <a:t>Whistleblower Protection</a:t>
            </a:r>
          </a:p>
        </p:txBody>
      </p:sp>
      <p:sp>
        <p:nvSpPr>
          <p:cNvPr id="4" name="Text Placeholder 3">
            <a:extLst>
              <a:ext uri="{FF2B5EF4-FFF2-40B4-BE49-F238E27FC236}">
                <a16:creationId xmlns:a16="http://schemas.microsoft.com/office/drawing/2014/main" id="{5DDDB9B0-A420-486C-9AA2-05360D1ABBEB}"/>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673491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3225989952"/>
              </p:ext>
            </p:extLst>
          </p:nvPr>
        </p:nvGraphicFramePr>
        <p:xfrm>
          <a:off x="2158460" y="398387"/>
          <a:ext cx="8856911" cy="6702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Whistleblower</a:t>
            </a:r>
          </a:p>
        </p:txBody>
      </p:sp>
      <p:pic>
        <p:nvPicPr>
          <p:cNvPr id="7" name="Picture 6">
            <a:extLst>
              <a:ext uri="{FF2B5EF4-FFF2-40B4-BE49-F238E27FC236}">
                <a16:creationId xmlns:a16="http://schemas.microsoft.com/office/drawing/2014/main" id="{468E970E-93AC-49E1-9231-597B8817394A}"/>
              </a:ext>
            </a:extLst>
          </p:cNvPr>
          <p:cNvPicPr>
            <a:picLocks noChangeAspect="1"/>
          </p:cNvPicPr>
          <p:nvPr/>
        </p:nvPicPr>
        <p:blipFill>
          <a:blip r:embed="rId8"/>
          <a:stretch>
            <a:fillRect/>
          </a:stretch>
        </p:blipFill>
        <p:spPr>
          <a:xfrm>
            <a:off x="697000" y="1174120"/>
            <a:ext cx="1231633" cy="1552076"/>
          </a:xfrm>
          <a:prstGeom prst="rect">
            <a:avLst/>
          </a:prstGeom>
        </p:spPr>
      </p:pic>
    </p:spTree>
    <p:extLst>
      <p:ext uri="{BB962C8B-B14F-4D97-AF65-F5344CB8AC3E}">
        <p14:creationId xmlns:p14="http://schemas.microsoft.com/office/powerpoint/2010/main" val="7738220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t>Corporate Compliance</a:t>
            </a:r>
          </a:p>
        </p:txBody>
      </p:sp>
      <p:sp>
        <p:nvSpPr>
          <p:cNvPr id="3" name="Text Placeholder 2">
            <a:extLst>
              <a:ext uri="{FF2B5EF4-FFF2-40B4-BE49-F238E27FC236}">
                <a16:creationId xmlns:a16="http://schemas.microsoft.com/office/drawing/2014/main" id="{A76040B8-4EE4-44A6-9C47-A4957F24233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8251620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BF4A9729-C77A-40B3-A86E-C0A3133CE091}"/>
              </a:ext>
            </a:extLst>
          </p:cNvPr>
          <p:cNvGraphicFramePr/>
          <p:nvPr>
            <p:extLst>
              <p:ext uri="{D42A27DB-BD31-4B8C-83A1-F6EECF244321}">
                <p14:modId xmlns:p14="http://schemas.microsoft.com/office/powerpoint/2010/main" val="3433048918"/>
              </p:ext>
            </p:extLst>
          </p:nvPr>
        </p:nvGraphicFramePr>
        <p:xfrm>
          <a:off x="2032000" y="719666"/>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342660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graphicFrame>
        <p:nvGraphicFramePr>
          <p:cNvPr id="4" name="Group 71"/>
          <p:cNvGraphicFramePr>
            <a:graphicFrameLocks/>
          </p:cNvGraphicFramePr>
          <p:nvPr>
            <p:extLst>
              <p:ext uri="{D42A27DB-BD31-4B8C-83A1-F6EECF244321}">
                <p14:modId xmlns:p14="http://schemas.microsoft.com/office/powerpoint/2010/main" val="1708992095"/>
              </p:ext>
            </p:extLst>
          </p:nvPr>
        </p:nvGraphicFramePr>
        <p:xfrm>
          <a:off x="1524006" y="3"/>
          <a:ext cx="9143999" cy="6857999"/>
        </p:xfrm>
        <a:graphic>
          <a:graphicData uri="http://schemas.openxmlformats.org/drawingml/2006/table">
            <a:tbl>
              <a:tblPr/>
              <a:tblGrid>
                <a:gridCol w="2590799">
                  <a:extLst>
                    <a:ext uri="{9D8B030D-6E8A-4147-A177-3AD203B41FA5}">
                      <a16:colId xmlns:a16="http://schemas.microsoft.com/office/drawing/2014/main" val="20000"/>
                    </a:ext>
                  </a:extLst>
                </a:gridCol>
                <a:gridCol w="18288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600200">
                  <a:extLst>
                    <a:ext uri="{9D8B030D-6E8A-4147-A177-3AD203B41FA5}">
                      <a16:colId xmlns:a16="http://schemas.microsoft.com/office/drawing/2014/main" val="20003"/>
                    </a:ext>
                  </a:extLst>
                </a:gridCol>
                <a:gridCol w="1600200">
                  <a:extLst>
                    <a:ext uri="{9D8B030D-6E8A-4147-A177-3AD203B41FA5}">
                      <a16:colId xmlns:a16="http://schemas.microsoft.com/office/drawing/2014/main" val="20004"/>
                    </a:ext>
                  </a:extLst>
                </a:gridCol>
              </a:tblGrid>
              <a:tr h="824182">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cap="none" normalizeH="0" baseline="0" dirty="0">
                        <a:ln>
                          <a:noFill/>
                        </a:ln>
                        <a:solidFill>
                          <a:schemeClr val="tx1"/>
                        </a:solidFill>
                        <a:effectLst/>
                        <a:latin typeface="Arial" charset="0"/>
                        <a:ea typeface="ＭＳ Ｐゴシック" pitchFamily="34"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1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40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2800" b="1" i="0" u="none" strike="noStrike" kern="1200" cap="none" normalizeH="0" baseline="0" dirty="0">
                        <a:ln>
                          <a:noFill/>
                        </a:ln>
                        <a:solidFill>
                          <a:schemeClr val="tx1"/>
                        </a:solidFill>
                        <a:effectLst/>
                        <a:latin typeface="Arial" charset="0"/>
                        <a:ea typeface="ＭＳ Ｐゴシック" pitchFamily="34"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969364">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803171">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defRPr/>
                      </a:pP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4. 	Training</a:t>
                      </a:r>
                      <a:r>
                        <a:rPr kumimoji="0" lang="en-US" sz="1800" b="0"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907286">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5. 	Monitor, evaluate, reporting hotlin</a:t>
                      </a:r>
                      <a:r>
                        <a:rPr kumimoji="0" lang="en-US" sz="1800" b="0"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838499">
                <a:tc>
                  <a:txBody>
                    <a:body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1800" b="1" i="0" u="none" strike="noStrike" cap="none" normalizeH="0" baseline="0" dirty="0">
                          <a:ln>
                            <a:noFill/>
                          </a:ln>
                          <a:solidFill>
                            <a:schemeClr val="bg1"/>
                          </a:solidFill>
                          <a:effectLst/>
                          <a:latin typeface="Times New Roman" pitchFamily="18" charset="0"/>
                          <a:ea typeface="ＭＳ Ｐゴシック" pitchFamily="34" charset="-128"/>
                          <a:cs typeface="Times New Roman"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a:ln>
                            <a:noFill/>
                          </a:ln>
                          <a:solidFill>
                            <a:schemeClr val="tx1"/>
                          </a:solidFill>
                          <a:effectLst/>
                          <a:latin typeface="Times New Roman" pitchFamily="18" charset="0"/>
                          <a:ea typeface="ＭＳ Ｐゴシック" pitchFamily="34" charset="-128"/>
                          <a:cs typeface="Times New Roman" pitchFamily="18" charset="0"/>
                        </a:rPr>
                        <a:t>√</a:t>
                      </a:r>
                      <a:endPar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600" b="1" i="0" u="none" strike="noStrike" cap="none" normalizeH="0" baseline="0" dirty="0">
                          <a:ln>
                            <a:noFill/>
                          </a:ln>
                          <a:solidFill>
                            <a:schemeClr val="tx1"/>
                          </a:solidFill>
                          <a:effectLst/>
                          <a:latin typeface="Times New Roman" pitchFamily="18" charset="0"/>
                          <a:ea typeface="ＭＳ Ｐゴシック" pitchFamily="34" charset="-128"/>
                          <a:cs typeface="Times New Roman"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bl>
          </a:graphicData>
        </a:graphic>
      </p:graphicFrame>
      <p:pic>
        <p:nvPicPr>
          <p:cNvPr id="24634" name="Picture 5" descr="C:\Users\CRY3860\AppData\Local\Microsoft\Windows\Temporary Internet Files\Content.IE5\0NCQ935C\MC900174377[1].wmf"/>
          <p:cNvPicPr>
            <a:picLocks noChangeAspect="1" noChangeArrowheads="1"/>
          </p:cNvPicPr>
          <p:nvPr/>
        </p:nvPicPr>
        <p:blipFill>
          <a:blip r:embed="rId3" cstate="print"/>
          <a:srcRect/>
          <a:stretch>
            <a:fillRect/>
          </a:stretch>
        </p:blipFill>
        <p:spPr bwMode="auto">
          <a:xfrm>
            <a:off x="4572000" y="2"/>
            <a:ext cx="914400" cy="735013"/>
          </a:xfrm>
          <a:prstGeom prst="rect">
            <a:avLst/>
          </a:prstGeom>
          <a:noFill/>
          <a:ln w="9525">
            <a:noFill/>
            <a:miter lim="800000"/>
            <a:headEnd/>
            <a:tailEnd/>
          </a:ln>
        </p:spPr>
      </p:pic>
      <p:pic>
        <p:nvPicPr>
          <p:cNvPr id="24635" name="Picture 8" descr="C:\Users\CRY3860\AppData\Local\Microsoft\Windows\Temporary Internet Files\Content.IE5\LUWFFVS9\MC900129223[1].wmf"/>
          <p:cNvPicPr>
            <a:picLocks noChangeAspect="1" noChangeArrowheads="1"/>
          </p:cNvPicPr>
          <p:nvPr/>
        </p:nvPicPr>
        <p:blipFill>
          <a:blip r:embed="rId4" cstate="print"/>
          <a:srcRect/>
          <a:stretch>
            <a:fillRect/>
          </a:stretch>
        </p:blipFill>
        <p:spPr bwMode="auto">
          <a:xfrm>
            <a:off x="6248401" y="125413"/>
            <a:ext cx="890588" cy="609600"/>
          </a:xfrm>
          <a:prstGeom prst="rect">
            <a:avLst/>
          </a:prstGeom>
          <a:noFill/>
          <a:ln w="9525">
            <a:noFill/>
            <a:miter lim="800000"/>
            <a:headEnd/>
            <a:tailEnd/>
          </a:ln>
        </p:spPr>
      </p:pic>
      <p:pic>
        <p:nvPicPr>
          <p:cNvPr id="24638" name="Picture 8" descr="https://www.signup4.net/Upload/UNIT11A/20142004E/JS%20USSC_Logo.gif"/>
          <p:cNvPicPr>
            <a:picLocks noChangeAspect="1" noChangeArrowheads="1"/>
          </p:cNvPicPr>
          <p:nvPr/>
        </p:nvPicPr>
        <p:blipFill>
          <a:blip r:embed="rId5" cstate="print"/>
          <a:srcRect/>
          <a:stretch>
            <a:fillRect/>
          </a:stretch>
        </p:blipFill>
        <p:spPr bwMode="auto">
          <a:xfrm>
            <a:off x="2438400" y="0"/>
            <a:ext cx="762000" cy="762000"/>
          </a:xfrm>
          <a:prstGeom prst="rect">
            <a:avLst/>
          </a:prstGeom>
          <a:noFill/>
          <a:ln w="9525">
            <a:noFill/>
            <a:miter lim="800000"/>
            <a:headEnd/>
            <a:tailEnd/>
          </a:ln>
        </p:spPr>
      </p:pic>
      <p:pic>
        <p:nvPicPr>
          <p:cNvPr id="8" name="Picture 2" descr="File:Flag of France (bordere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696206" y="52106"/>
            <a:ext cx="1070369" cy="71437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upload.wikimedia.org/wikipedia/commons/thumb/f/fc/Flag_of_Mexico.svg/120px-Flag_of_Mexico.svg.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72600" y="161929"/>
            <a:ext cx="914400" cy="525781"/>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1"/>
          </p:nvPr>
        </p:nvSpPr>
        <p:spPr/>
        <p:txBody>
          <a:bodyPr/>
          <a:lstStyle/>
          <a:p>
            <a:fld id="{7DE207D9-FE7D-40B2-A260-0186BAF83486}" type="slidenum">
              <a:rPr lang="en-US" smtClean="0">
                <a:solidFill>
                  <a:prstClr val="white">
                    <a:tint val="75000"/>
                  </a:prstClr>
                </a:solidFill>
              </a:rPr>
              <a:pPr/>
              <a:t>16</a:t>
            </a:fld>
            <a:endParaRPr lang="en-US" dirty="0">
              <a:solidFill>
                <a:prstClr val="white">
                  <a:tint val="75000"/>
                </a:prstClr>
              </a:solidFill>
            </a:endParaRPr>
          </a:p>
        </p:txBody>
      </p:sp>
      <p:sp>
        <p:nvSpPr>
          <p:cNvPr id="3" name="Oval 2"/>
          <p:cNvSpPr/>
          <p:nvPr/>
        </p:nvSpPr>
        <p:spPr>
          <a:xfrm>
            <a:off x="7254659" y="5173249"/>
            <a:ext cx="3128375" cy="147807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Victim Compensation?</a:t>
            </a:r>
          </a:p>
        </p:txBody>
      </p:sp>
    </p:spTree>
    <p:extLst>
      <p:ext uri="{BB962C8B-B14F-4D97-AF65-F5344CB8AC3E}">
        <p14:creationId xmlns:p14="http://schemas.microsoft.com/office/powerpoint/2010/main" val="272275776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Group 59"/>
          <p:cNvGraphicFramePr>
            <a:graphicFrameLocks/>
          </p:cNvGraphicFramePr>
          <p:nvPr>
            <p:extLst>
              <p:ext uri="{D42A27DB-BD31-4B8C-83A1-F6EECF244321}">
                <p14:modId xmlns:p14="http://schemas.microsoft.com/office/powerpoint/2010/main" val="373455463"/>
              </p:ext>
            </p:extLst>
          </p:nvPr>
        </p:nvGraphicFramePr>
        <p:xfrm>
          <a:off x="2616741" y="1493838"/>
          <a:ext cx="7340082" cy="4095006"/>
        </p:xfrm>
        <a:graphic>
          <a:graphicData uri="http://schemas.openxmlformats.org/drawingml/2006/table">
            <a:tbl>
              <a:tblPr/>
              <a:tblGrid>
                <a:gridCol w="7340082">
                  <a:extLst>
                    <a:ext uri="{9D8B030D-6E8A-4147-A177-3AD203B41FA5}">
                      <a16:colId xmlns:a16="http://schemas.microsoft.com/office/drawing/2014/main" val="20000"/>
                    </a:ext>
                  </a:extLst>
                </a:gridCol>
              </a:tblGrid>
              <a:tr h="609600">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3200" b="1" i="0" u="none" strike="noStrike" cap="none" normalizeH="0" baseline="0" dirty="0">
                          <a:ln>
                            <a:noFill/>
                          </a:ln>
                          <a:solidFill>
                            <a:schemeClr val="bg1"/>
                          </a:solidFill>
                          <a:effectLst/>
                          <a:latin typeface="Arial" charset="0"/>
                          <a:ea typeface="ＭＳ Ｐゴシック" pitchFamily="34" charset="-128"/>
                        </a:rPr>
                        <a:t>Mandatory Disclosure</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10000"/>
                  </a:ext>
                </a:extLst>
              </a:tr>
              <a:tr h="2681481">
                <a:tc>
                  <a:txBody>
                    <a:body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itchFamily="18" charset="0"/>
                        <a:buNone/>
                        <a:tabLst/>
                      </a:pPr>
                      <a:r>
                        <a:rPr kumimoji="0" lang="en-US" sz="2000" b="1" i="0" u="none" strike="noStrike" cap="none" normalizeH="0" baseline="0" dirty="0">
                          <a:ln>
                            <a:noFill/>
                          </a:ln>
                          <a:solidFill>
                            <a:schemeClr val="tx1"/>
                          </a:solidFill>
                          <a:effectLst/>
                          <a:latin typeface="Arial" charset="0"/>
                          <a:ea typeface="ＭＳ Ｐゴシック" pitchFamily="34" charset="-128"/>
                        </a:rPr>
                        <a:t>U.S. contracting – contractor must disclose to contracting official and inspector general:</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Fraud</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Criminal conflict of interest</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Bribe or gratuity</a:t>
                      </a:r>
                    </a:p>
                    <a:p>
                      <a:pPr marL="342900" marR="0" lvl="0" indent="-342900" algn="ctr" defTabSz="914400" rtl="0" eaLnBrk="1" fontAlgn="base" latinLnBrk="0" hangingPunct="1">
                        <a:lnSpc>
                          <a:spcPct val="100000"/>
                        </a:lnSpc>
                        <a:spcBef>
                          <a:spcPct val="30000"/>
                        </a:spcBef>
                        <a:spcAft>
                          <a:spcPct val="25000"/>
                        </a:spcAft>
                        <a:buClr>
                          <a:srgbClr val="192F5A"/>
                        </a:buClr>
                        <a:buSzTx/>
                        <a:buFont typeface="Arial" panose="020B0604020202020204" pitchFamily="34" charset="0"/>
                        <a:buChar char="•"/>
                        <a:tabLst/>
                      </a:pPr>
                      <a:r>
                        <a:rPr kumimoji="0" lang="en-US" sz="2000" b="1" i="0" u="none" strike="noStrike" cap="none" normalizeH="0" baseline="0" dirty="0">
                          <a:ln>
                            <a:noFill/>
                          </a:ln>
                          <a:solidFill>
                            <a:schemeClr val="tx1"/>
                          </a:solidFill>
                          <a:effectLst/>
                          <a:latin typeface="Arial" charset="0"/>
                          <a:ea typeface="ＭＳ Ｐゴシック" pitchFamily="34" charset="-128"/>
                        </a:rPr>
                        <a:t>Significant Overpayment</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1"/>
                  </a:ext>
                </a:extLst>
              </a:tr>
              <a:tr h="803925">
                <a:tc>
                  <a:txBody>
                    <a:body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itchFamily="18" charset="0"/>
                        <a:buNone/>
                        <a:tabLst/>
                      </a:pPr>
                      <a:endParaRPr kumimoji="0" lang="en-US" sz="1800" b="1" i="0" u="none" strike="noStrike" cap="none" normalizeH="0" baseline="0" dirty="0">
                        <a:ln>
                          <a:noFill/>
                        </a:ln>
                        <a:solidFill>
                          <a:schemeClr val="tx1"/>
                        </a:solidFill>
                        <a:effectLst/>
                        <a:latin typeface="Arial" charset="0"/>
                        <a:ea typeface="ＭＳ Ｐゴシック" pitchFamily="34" charset="-128"/>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bl>
          </a:graphicData>
        </a:graphic>
      </p:graphicFrame>
      <p:sp>
        <p:nvSpPr>
          <p:cNvPr id="82969" name="Picture 2" descr="C:\Documents and Settings\cry3860\Local Settings\Temporary Internet Files\Content.IE5\ZBONAU9V\MC900174377[1].wmf"/>
          <p:cNvSpPr>
            <a:spLocks noChangeAspect="1" noChangeArrowheads="1"/>
          </p:cNvSpPr>
          <p:nvPr/>
        </p:nvSpPr>
        <p:spPr bwMode="auto">
          <a:xfrm>
            <a:off x="8534400" y="-34925"/>
            <a:ext cx="1905000" cy="1528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Tree>
    <p:extLst>
      <p:ext uri="{BB962C8B-B14F-4D97-AF65-F5344CB8AC3E}">
        <p14:creationId xmlns:p14="http://schemas.microsoft.com/office/powerpoint/2010/main" val="1810533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B99C7C6-1E54-451E-B164-07104F74BF9B}"/>
              </a:ext>
            </a:extLst>
          </p:cNvPr>
          <p:cNvPicPr>
            <a:picLocks noChangeAspect="1"/>
          </p:cNvPicPr>
          <p:nvPr/>
        </p:nvPicPr>
        <p:blipFill>
          <a:blip r:embed="rId2"/>
          <a:stretch>
            <a:fillRect/>
          </a:stretch>
        </p:blipFill>
        <p:spPr>
          <a:xfrm>
            <a:off x="417293" y="1417637"/>
            <a:ext cx="11029346" cy="4230687"/>
          </a:xfrm>
          <a:prstGeom prst="rect">
            <a:avLst/>
          </a:prstGeom>
        </p:spPr>
      </p:pic>
      <p:sp>
        <p:nvSpPr>
          <p:cNvPr id="4" name="TextBox 3">
            <a:extLst>
              <a:ext uri="{FF2B5EF4-FFF2-40B4-BE49-F238E27FC236}">
                <a16:creationId xmlns:a16="http://schemas.microsoft.com/office/drawing/2014/main" id="{FCFEB65D-0911-4650-BBF7-F631110A54D5}"/>
              </a:ext>
            </a:extLst>
          </p:cNvPr>
          <p:cNvSpPr txBox="1"/>
          <p:nvPr/>
        </p:nvSpPr>
        <p:spPr>
          <a:xfrm>
            <a:off x="4905375" y="5278993"/>
            <a:ext cx="4670745" cy="369332"/>
          </a:xfrm>
          <a:prstGeom prst="rect">
            <a:avLst/>
          </a:prstGeom>
          <a:noFill/>
        </p:spPr>
        <p:txBody>
          <a:bodyPr wrap="square" rtlCol="0">
            <a:spAutoFit/>
          </a:bodyPr>
          <a:lstStyle/>
          <a:p>
            <a:r>
              <a:rPr lang="en-US" dirty="0"/>
              <a:t>Antoine de Saint-</a:t>
            </a:r>
            <a:r>
              <a:rPr lang="en-US" dirty="0" err="1"/>
              <a:t>Exupéry</a:t>
            </a:r>
            <a:r>
              <a:rPr lang="en-US" dirty="0"/>
              <a:t>, </a:t>
            </a:r>
            <a:r>
              <a:rPr lang="en-US" i="1" dirty="0"/>
              <a:t>The Little Prince</a:t>
            </a:r>
            <a:endParaRPr lang="en-US" dirty="0"/>
          </a:p>
        </p:txBody>
      </p:sp>
      <p:sp>
        <p:nvSpPr>
          <p:cNvPr id="5" name="TextBox 4">
            <a:extLst>
              <a:ext uri="{FF2B5EF4-FFF2-40B4-BE49-F238E27FC236}">
                <a16:creationId xmlns:a16="http://schemas.microsoft.com/office/drawing/2014/main" id="{34CB5245-A3B0-4BB4-9378-42425C5AAB83}"/>
              </a:ext>
            </a:extLst>
          </p:cNvPr>
          <p:cNvSpPr txBox="1"/>
          <p:nvPr/>
        </p:nvSpPr>
        <p:spPr>
          <a:xfrm>
            <a:off x="7415293" y="1417636"/>
            <a:ext cx="3531140" cy="1815882"/>
          </a:xfrm>
          <a:prstGeom prst="rect">
            <a:avLst/>
          </a:prstGeom>
          <a:noFill/>
        </p:spPr>
        <p:txBody>
          <a:bodyPr wrap="square" rtlCol="0">
            <a:spAutoFit/>
          </a:bodyPr>
          <a:lstStyle/>
          <a:p>
            <a:pPr algn="r"/>
            <a:r>
              <a:rPr lang="en-US" sz="2800" b="1" dirty="0"/>
              <a:t>World Bank – Voluntary Disclosure Program</a:t>
            </a:r>
          </a:p>
        </p:txBody>
      </p:sp>
    </p:spTree>
    <p:extLst>
      <p:ext uri="{BB962C8B-B14F-4D97-AF65-F5344CB8AC3E}">
        <p14:creationId xmlns:p14="http://schemas.microsoft.com/office/powerpoint/2010/main" val="254800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t>Ethics:  Conflicts of Interest</a:t>
            </a:r>
          </a:p>
        </p:txBody>
      </p:sp>
      <p:sp>
        <p:nvSpPr>
          <p:cNvPr id="3" name="Text Placeholder 2">
            <a:extLst>
              <a:ext uri="{FF2B5EF4-FFF2-40B4-BE49-F238E27FC236}">
                <a16:creationId xmlns:a16="http://schemas.microsoft.com/office/drawing/2014/main" id="{B82234DC-35F7-4ABC-9021-EBEE4DC1563A}"/>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5483800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Georgia:  Anti-Corruption in Procurement</a:t>
            </a:r>
          </a:p>
        </p:txBody>
      </p:sp>
      <p:grpSp>
        <p:nvGrpSpPr>
          <p:cNvPr id="6" name="Gruppieren 5"/>
          <p:cNvGrpSpPr/>
          <p:nvPr/>
        </p:nvGrpSpPr>
        <p:grpSpPr>
          <a:xfrm>
            <a:off x="9624141" y="2195213"/>
            <a:ext cx="2014506" cy="4051504"/>
            <a:chOff x="205865" y="1276818"/>
            <a:chExt cx="1776026" cy="3561375"/>
          </a:xfrm>
        </p:grpSpPr>
        <p:sp>
          <p:nvSpPr>
            <p:cNvPr id="8" name="Freihandform 7"/>
            <p:cNvSpPr/>
            <p:nvPr/>
          </p:nvSpPr>
          <p:spPr>
            <a:xfrm>
              <a:off x="230266" y="2655599"/>
              <a:ext cx="1751625" cy="2182594"/>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285750" indent="-285750" algn="ctr">
                <a:buFont typeface="Arial" panose="020B0604020202020204" pitchFamily="34" charset="0"/>
                <a:buChar char="•"/>
              </a:pPr>
              <a:r>
                <a:rPr lang="de-AT" sz="1200" b="1" dirty="0" err="1">
                  <a:solidFill>
                    <a:srgbClr val="000000"/>
                  </a:solidFill>
                  <a:latin typeface="Verdana"/>
                </a:rPr>
                <a:t>Detailed</a:t>
              </a:r>
              <a:r>
                <a:rPr lang="de-AT" sz="1200" b="1" dirty="0">
                  <a:solidFill>
                    <a:srgbClr val="000000"/>
                  </a:solidFill>
                  <a:latin typeface="Verdana"/>
                </a:rPr>
                <a:t> </a:t>
              </a:r>
              <a:r>
                <a:rPr lang="de-AT" sz="1200" b="1" dirty="0" err="1">
                  <a:solidFill>
                    <a:srgbClr val="000000"/>
                  </a:solidFill>
                  <a:latin typeface="Verdana"/>
                </a:rPr>
                <a:t>below</a:t>
              </a:r>
              <a:endParaRPr lang="de-AT" sz="1200" b="1" dirty="0">
                <a:solidFill>
                  <a:srgbClr val="000000"/>
                </a:solidFill>
                <a:latin typeface="Verdana"/>
              </a:endParaRPr>
            </a:p>
          </p:txBody>
        </p:sp>
        <p:sp>
          <p:nvSpPr>
            <p:cNvPr id="9" name="Freihandform 8"/>
            <p:cNvSpPr/>
            <p:nvPr/>
          </p:nvSpPr>
          <p:spPr>
            <a:xfrm>
              <a:off x="205865" y="1276818"/>
              <a:ext cx="1362243" cy="1406188"/>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marL="171450" marR="0" lvl="0" indent="-171450" algn="ctr" defTabSz="4000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a:p>
              <a:pPr marR="0" lvl="0" algn="ctr" defTabSz="400050" rtl="0" eaLnBrk="1" fontAlgn="auto" latinLnBrk="0" hangingPunct="1">
                <a:lnSpc>
                  <a:spcPct val="90000"/>
                </a:lnSpc>
                <a:spcBef>
                  <a:spcPct val="0"/>
                </a:spcBef>
                <a:spcAft>
                  <a:spcPct val="35000"/>
                </a:spcAft>
                <a:buClrTx/>
                <a:buSzTx/>
                <a:tabLst/>
                <a:defRPr/>
              </a:pPr>
              <a:r>
                <a:rPr kumimoji="0" lang="de-DE" sz="1200" b="1" i="0" u="none" strike="noStrike" kern="1200" cap="none" spc="0" normalizeH="0" baseline="0" noProof="0" dirty="0" err="1">
                  <a:ln>
                    <a:noFill/>
                  </a:ln>
                  <a:solidFill>
                    <a:schemeClr val="tx1"/>
                  </a:solidFill>
                  <a:effectLst/>
                  <a:uLnTx/>
                  <a:uFillTx/>
                  <a:latin typeface="Verdana"/>
                  <a:ea typeface="+mn-ea"/>
                  <a:cs typeface="+mn-cs"/>
                </a:rPr>
                <a:t>Draft</a:t>
              </a:r>
              <a:r>
                <a:rPr kumimoji="0" lang="de-DE" sz="1200" b="1" i="0" u="none" strike="noStrike" kern="1200" cap="none" spc="0" normalizeH="0" baseline="0" noProof="0" dirty="0">
                  <a:ln>
                    <a:noFill/>
                  </a:ln>
                  <a:solidFill>
                    <a:schemeClr val="tx1"/>
                  </a:solidFill>
                  <a:effectLst/>
                  <a:uLnTx/>
                  <a:uFillTx/>
                  <a:latin typeface="Verdana"/>
                  <a:ea typeface="+mn-ea"/>
                  <a:cs typeface="+mn-cs"/>
                </a:rPr>
                <a:t> </a:t>
              </a:r>
              <a:r>
                <a:rPr kumimoji="0" lang="de-DE" sz="1200" b="1" i="0" u="none" strike="noStrike" kern="1200" cap="none" spc="0" normalizeH="0" baseline="0" noProof="0" dirty="0" err="1">
                  <a:ln>
                    <a:noFill/>
                  </a:ln>
                  <a:solidFill>
                    <a:schemeClr val="tx1"/>
                  </a:solidFill>
                  <a:effectLst/>
                  <a:uLnTx/>
                  <a:uFillTx/>
                  <a:latin typeface="Verdana"/>
                  <a:ea typeface="+mn-ea"/>
                  <a:cs typeface="+mn-cs"/>
                </a:rPr>
                <a:t>Procurement</a:t>
              </a:r>
              <a:r>
                <a:rPr kumimoji="0" lang="de-DE" sz="1200" b="1" i="0" u="none" strike="noStrike" kern="1200" cap="none" spc="0" normalizeH="0" baseline="0" noProof="0" dirty="0">
                  <a:ln>
                    <a:noFill/>
                  </a:ln>
                  <a:solidFill>
                    <a:schemeClr val="tx1"/>
                  </a:solidFill>
                  <a:effectLst/>
                  <a:uLnTx/>
                  <a:uFillTx/>
                  <a:latin typeface="Verdana"/>
                  <a:ea typeface="+mn-ea"/>
                  <a:cs typeface="+mn-cs"/>
                </a:rPr>
                <a:t> Law</a:t>
              </a:r>
            </a:p>
            <a:p>
              <a:pPr marL="171450" marR="0" lvl="0" indent="-171450" algn="ctr" defTabSz="400050" rtl="0" eaLnBrk="1" fontAlgn="auto" latinLnBrk="0" hangingPunct="1">
                <a:lnSpc>
                  <a:spcPct val="90000"/>
                </a:lnSpc>
                <a:spcBef>
                  <a:spcPct val="0"/>
                </a:spcBef>
                <a:spcAft>
                  <a:spcPct val="35000"/>
                </a:spcAft>
                <a:buClrTx/>
                <a:buSzTx/>
                <a:buFont typeface="Arial" panose="020B0604020202020204" pitchFamily="34" charset="0"/>
                <a:buChar char="•"/>
                <a:tabLst/>
                <a:defRPr/>
              </a:pP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10" name="Gruppieren 9"/>
          <p:cNvGrpSpPr/>
          <p:nvPr/>
        </p:nvGrpSpPr>
        <p:grpSpPr>
          <a:xfrm>
            <a:off x="860296" y="2195213"/>
            <a:ext cx="2016408" cy="3955183"/>
            <a:chOff x="2141307" y="1304880"/>
            <a:chExt cx="1777703" cy="3668612"/>
          </a:xfrm>
        </p:grpSpPr>
        <p:sp>
          <p:nvSpPr>
            <p:cNvPr id="11" name="Freihandform 10"/>
            <p:cNvSpPr/>
            <p:nvPr/>
          </p:nvSpPr>
          <p:spPr>
            <a:xfrm>
              <a:off x="2220879" y="2679551"/>
              <a:ext cx="1698131" cy="2293941"/>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285750" indent="-285750" defTabSz="622300">
                <a:lnSpc>
                  <a:spcPct val="90000"/>
                </a:lnSpc>
                <a:spcBef>
                  <a:spcPct val="0"/>
                </a:spcBef>
                <a:spcAft>
                  <a:spcPct val="35000"/>
                </a:spcAft>
                <a:buFont typeface="Arial" panose="020B0604020202020204" pitchFamily="34" charset="0"/>
                <a:buChar char="•"/>
              </a:pPr>
              <a:r>
                <a:rPr lang="de-DE" sz="1400" b="1" dirty="0" err="1">
                  <a:solidFill>
                    <a:srgbClr val="000000"/>
                  </a:solidFill>
                </a:rPr>
                <a:t>Detailed</a:t>
              </a:r>
              <a:r>
                <a:rPr lang="de-DE" sz="1400" b="1" dirty="0">
                  <a:solidFill>
                    <a:srgbClr val="000000"/>
                  </a:solidFill>
                </a:rPr>
                <a:t> </a:t>
              </a:r>
              <a:r>
                <a:rPr lang="de-DE" sz="1400" b="1" dirty="0" err="1">
                  <a:solidFill>
                    <a:srgbClr val="000000"/>
                  </a:solidFill>
                </a:rPr>
                <a:t>below</a:t>
              </a:r>
              <a:endParaRPr lang="de-DE" sz="1400" b="1" dirty="0">
                <a:solidFill>
                  <a:srgbClr val="000000"/>
                </a:solidFill>
              </a:endParaRPr>
            </a:p>
            <a:p>
              <a:pPr marL="285750" indent="-285750" defTabSz="622300">
                <a:lnSpc>
                  <a:spcPct val="90000"/>
                </a:lnSpc>
                <a:spcBef>
                  <a:spcPct val="0"/>
                </a:spcBef>
                <a:spcAft>
                  <a:spcPct val="35000"/>
                </a:spcAft>
                <a:buFont typeface="Arial" panose="020B0604020202020204" pitchFamily="34" charset="0"/>
                <a:buChar char="•"/>
              </a:pPr>
              <a:r>
                <a:rPr lang="de-DE" sz="1400" b="1" dirty="0">
                  <a:solidFill>
                    <a:srgbClr val="000000"/>
                  </a:solidFill>
                </a:rPr>
                <a:t>2005-2015</a:t>
              </a:r>
            </a:p>
            <a:p>
              <a:pPr marL="285750" indent="-285750" defTabSz="622300">
                <a:lnSpc>
                  <a:spcPct val="90000"/>
                </a:lnSpc>
                <a:spcBef>
                  <a:spcPct val="0"/>
                </a:spcBef>
                <a:spcAft>
                  <a:spcPct val="35000"/>
                </a:spcAft>
                <a:buFont typeface="Arial" panose="020B0604020202020204" pitchFamily="34" charset="0"/>
                <a:buChar char="•"/>
              </a:pPr>
              <a:endParaRPr lang="de-DE" sz="1400" dirty="0">
                <a:solidFill>
                  <a:srgbClr val="000000"/>
                </a:solidFill>
              </a:endParaRPr>
            </a:p>
          </p:txBody>
        </p:sp>
        <p:sp>
          <p:nvSpPr>
            <p:cNvPr id="12" name="Freihandform 11"/>
            <p:cNvSpPr/>
            <p:nvPr/>
          </p:nvSpPr>
          <p:spPr>
            <a:xfrm>
              <a:off x="2141307" y="1304880"/>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marL="0" marR="0" lvl="0" indent="0" algn="ctr" defTabSz="400050" rtl="0" eaLnBrk="1" fontAlgn="auto" latinLnBrk="0" hangingPunct="1">
                <a:lnSpc>
                  <a:spcPct val="90000"/>
                </a:lnSpc>
                <a:spcBef>
                  <a:spcPct val="0"/>
                </a:spcBef>
                <a:spcAft>
                  <a:spcPct val="35000"/>
                </a:spcAft>
                <a:buClrTx/>
                <a:buSzTx/>
                <a:buFontTx/>
                <a:buNone/>
                <a:tabLst/>
                <a:defRPr/>
              </a:pP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a:p>
              <a:pPr marL="0" marR="0" lvl="0" indent="0" algn="ctr" defTabSz="400050" rtl="0" eaLnBrk="1" fontAlgn="auto" latinLnBrk="0" hangingPunct="1">
                <a:lnSpc>
                  <a:spcPct val="90000"/>
                </a:lnSpc>
                <a:spcBef>
                  <a:spcPct val="0"/>
                </a:spcBef>
                <a:spcAft>
                  <a:spcPct val="35000"/>
                </a:spcAft>
                <a:buClrTx/>
                <a:buSzTx/>
                <a:buFontTx/>
                <a:buNone/>
                <a:tabLst/>
                <a:defRPr/>
              </a:pPr>
              <a:r>
                <a:rPr kumimoji="0" lang="de-DE" sz="1200" b="1" i="0" u="none" strike="noStrike" kern="1200" cap="none" spc="0" normalizeH="0" baseline="0" noProof="0" dirty="0" err="1">
                  <a:ln>
                    <a:noFill/>
                  </a:ln>
                  <a:solidFill>
                    <a:schemeClr val="tx1"/>
                  </a:solidFill>
                  <a:effectLst/>
                  <a:uLnTx/>
                  <a:uFillTx/>
                  <a:latin typeface="Verdana"/>
                  <a:ea typeface="+mn-ea"/>
                  <a:cs typeface="+mn-cs"/>
                </a:rPr>
                <a:t>Georgia‘s</a:t>
              </a:r>
              <a:r>
                <a:rPr kumimoji="0" lang="de-DE" sz="1200" b="1" i="0" u="none" strike="noStrike" kern="1200" cap="none" spc="0" normalizeH="0" baseline="0" noProof="0" dirty="0">
                  <a:ln>
                    <a:noFill/>
                  </a:ln>
                  <a:solidFill>
                    <a:schemeClr val="tx1"/>
                  </a:solidFill>
                  <a:effectLst/>
                  <a:uLnTx/>
                  <a:uFillTx/>
                  <a:latin typeface="Verdana"/>
                  <a:ea typeface="+mn-ea"/>
                  <a:cs typeface="+mn-cs"/>
                </a:rPr>
                <a:t> Law on Public </a:t>
              </a:r>
              <a:r>
                <a:rPr kumimoji="0" lang="de-DE" sz="1200" b="1" i="0" u="none" strike="noStrike" kern="1200" cap="none" spc="0" normalizeH="0" baseline="0" noProof="0" dirty="0" err="1">
                  <a:ln>
                    <a:noFill/>
                  </a:ln>
                  <a:solidFill>
                    <a:schemeClr val="tx1"/>
                  </a:solidFill>
                  <a:effectLst/>
                  <a:uLnTx/>
                  <a:uFillTx/>
                  <a:latin typeface="Verdana"/>
                  <a:ea typeface="+mn-ea"/>
                  <a:cs typeface="+mn-cs"/>
                </a:rPr>
                <a:t>Procurement</a:t>
              </a:r>
              <a:endParaRPr kumimoji="0" lang="de-DE" sz="1200" b="1" i="0" u="none" strike="noStrike" kern="1200" cap="none" spc="0" normalizeH="0" baseline="0" noProof="0" dirty="0">
                <a:ln>
                  <a:noFill/>
                </a:ln>
                <a:solidFill>
                  <a:schemeClr val="tx1"/>
                </a:solidFill>
                <a:effectLst/>
                <a:uLnTx/>
                <a:uFillTx/>
                <a:latin typeface="Verdana"/>
                <a:ea typeface="+mn-ea"/>
                <a:cs typeface="+mn-cs"/>
              </a:endParaRPr>
            </a:p>
          </p:txBody>
        </p:sp>
      </p:grpSp>
      <p:grpSp>
        <p:nvGrpSpPr>
          <p:cNvPr id="14" name="Gruppieren 13"/>
          <p:cNvGrpSpPr/>
          <p:nvPr/>
        </p:nvGrpSpPr>
        <p:grpSpPr>
          <a:xfrm>
            <a:off x="6661333" y="2195212"/>
            <a:ext cx="2029048" cy="4051504"/>
            <a:chOff x="4241344" y="1326865"/>
            <a:chExt cx="1788846" cy="3757954"/>
          </a:xfrm>
        </p:grpSpPr>
        <p:sp>
          <p:nvSpPr>
            <p:cNvPr id="15" name="Freihandform 14"/>
            <p:cNvSpPr/>
            <p:nvPr/>
          </p:nvSpPr>
          <p:spPr>
            <a:xfrm>
              <a:off x="4241344" y="2781752"/>
              <a:ext cx="1788846" cy="2303067"/>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285750" indent="-285750" defTabSz="622300">
                <a:lnSpc>
                  <a:spcPct val="90000"/>
                </a:lnSpc>
                <a:spcBef>
                  <a:spcPct val="0"/>
                </a:spcBef>
                <a:spcAft>
                  <a:spcPct val="35000"/>
                </a:spcAft>
                <a:buFont typeface="Arial" panose="020B0604020202020204" pitchFamily="34" charset="0"/>
                <a:buChar char="•"/>
              </a:pPr>
              <a:r>
                <a:rPr lang="en-GB" sz="1200" b="1" dirty="0"/>
                <a:t>Transparency and reduction of corruption-related risks in procurement</a:t>
              </a:r>
            </a:p>
            <a:p>
              <a:pPr marL="285750" indent="-285750" defTabSz="622300">
                <a:lnSpc>
                  <a:spcPct val="90000"/>
                </a:lnSpc>
                <a:spcBef>
                  <a:spcPct val="0"/>
                </a:spcBef>
                <a:spcAft>
                  <a:spcPct val="35000"/>
                </a:spcAft>
                <a:buFont typeface="Arial" panose="020B0604020202020204" pitchFamily="34" charset="0"/>
                <a:buChar char="•"/>
              </a:pPr>
              <a:r>
                <a:rPr lang="en-GB" sz="1200" b="1" dirty="0">
                  <a:solidFill>
                    <a:srgbClr val="000000"/>
                  </a:solidFill>
                </a:rPr>
                <a:t>Enhance procurement system</a:t>
              </a:r>
            </a:p>
            <a:p>
              <a:pPr marL="285750" indent="-285750" defTabSz="622300">
                <a:lnSpc>
                  <a:spcPct val="90000"/>
                </a:lnSpc>
                <a:spcBef>
                  <a:spcPct val="0"/>
                </a:spcBef>
                <a:spcAft>
                  <a:spcPct val="35000"/>
                </a:spcAft>
                <a:buFont typeface="Arial" panose="020B0604020202020204" pitchFamily="34" charset="0"/>
                <a:buChar char="•"/>
              </a:pPr>
              <a:r>
                <a:rPr lang="en-GB" sz="1200" b="1" dirty="0">
                  <a:solidFill>
                    <a:srgbClr val="000000"/>
                  </a:solidFill>
                </a:rPr>
                <a:t>Prevent corruption in </a:t>
              </a:r>
              <a:r>
                <a:rPr lang="en-GB" sz="1200" b="1" dirty="0" err="1">
                  <a:solidFill>
                    <a:srgbClr val="000000"/>
                  </a:solidFill>
                </a:rPr>
                <a:t>defense</a:t>
              </a:r>
              <a:r>
                <a:rPr lang="en-GB" sz="1200" b="1" dirty="0">
                  <a:solidFill>
                    <a:srgbClr val="000000"/>
                  </a:solidFill>
                </a:rPr>
                <a:t> and infrastructure projects</a:t>
              </a:r>
              <a:endParaRPr lang="de-DE" sz="1200" b="1" dirty="0">
                <a:solidFill>
                  <a:srgbClr val="000000"/>
                </a:solidFill>
              </a:endParaRPr>
            </a:p>
            <a:p>
              <a:pPr lvl="0" algn="ctr" defTabSz="622300">
                <a:lnSpc>
                  <a:spcPct val="90000"/>
                </a:lnSpc>
                <a:spcBef>
                  <a:spcPct val="0"/>
                </a:spcBef>
                <a:spcAft>
                  <a:spcPct val="35000"/>
                </a:spcAft>
              </a:pPr>
              <a:endParaRPr lang="de-DE" sz="1200" b="1" dirty="0">
                <a:solidFill>
                  <a:srgbClr val="000000"/>
                </a:solidFill>
                <a:effectLst>
                  <a:outerShdw blurRad="38100" dist="38100" dir="2700000" algn="tl">
                    <a:srgbClr val="000000">
                      <a:alpha val="43137"/>
                    </a:srgbClr>
                  </a:outerShdw>
                </a:effectLst>
                <a:latin typeface="Verdana"/>
              </a:endParaRPr>
            </a:p>
          </p:txBody>
        </p:sp>
        <p:sp>
          <p:nvSpPr>
            <p:cNvPr id="16" name="Freihandform 15"/>
            <p:cNvSpPr/>
            <p:nvPr/>
          </p:nvSpPr>
          <p:spPr>
            <a:xfrm>
              <a:off x="4241344" y="1326865"/>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FFFF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lvl="0" algn="ctr" defTabSz="400050">
                <a:lnSpc>
                  <a:spcPct val="90000"/>
                </a:lnSpc>
                <a:spcBef>
                  <a:spcPct val="0"/>
                </a:spcBef>
                <a:spcAft>
                  <a:spcPct val="35000"/>
                </a:spcAft>
                <a:defRPr/>
              </a:pPr>
              <a:r>
                <a:rPr lang="de-DE" sz="1200" b="1" dirty="0">
                  <a:solidFill>
                    <a:schemeClr val="tx1"/>
                  </a:solidFill>
                  <a:latin typeface="Verdana"/>
                </a:rPr>
                <a:t>Anti-</a:t>
              </a:r>
              <a:r>
                <a:rPr lang="de-DE" sz="1200" b="1" dirty="0" err="1">
                  <a:solidFill>
                    <a:schemeClr val="tx1"/>
                  </a:solidFill>
                  <a:latin typeface="Verdana"/>
                </a:rPr>
                <a:t>Corruption</a:t>
              </a:r>
              <a:endParaRPr lang="de-DE" sz="1200" b="1" dirty="0">
                <a:solidFill>
                  <a:schemeClr val="tx1"/>
                </a:solidFill>
                <a:latin typeface="Verdana"/>
              </a:endParaRPr>
            </a:p>
            <a:p>
              <a:pPr lvl="0" algn="ctr" defTabSz="400050">
                <a:lnSpc>
                  <a:spcPct val="90000"/>
                </a:lnSpc>
                <a:spcBef>
                  <a:spcPct val="0"/>
                </a:spcBef>
                <a:spcAft>
                  <a:spcPct val="35000"/>
                </a:spcAft>
                <a:defRPr/>
              </a:pPr>
              <a:r>
                <a:rPr lang="de-DE" sz="1200" b="1" dirty="0" err="1">
                  <a:solidFill>
                    <a:schemeClr val="tx1"/>
                  </a:solidFill>
                  <a:latin typeface="Verdana"/>
                </a:rPr>
                <a:t>Strategy</a:t>
              </a:r>
              <a:r>
                <a:rPr lang="de-DE" sz="1200" b="1" dirty="0">
                  <a:solidFill>
                    <a:schemeClr val="tx1"/>
                  </a:solidFill>
                  <a:latin typeface="Verdana"/>
                </a:rPr>
                <a:t> and Action Plan</a:t>
              </a:r>
            </a:p>
            <a:p>
              <a:pPr lvl="0" algn="ctr" defTabSz="400050">
                <a:lnSpc>
                  <a:spcPct val="90000"/>
                </a:lnSpc>
                <a:spcBef>
                  <a:spcPct val="0"/>
                </a:spcBef>
                <a:spcAft>
                  <a:spcPct val="35000"/>
                </a:spcAft>
                <a:defRPr/>
              </a:pPr>
              <a:r>
                <a:rPr lang="de-DE" sz="1200" b="1" dirty="0">
                  <a:solidFill>
                    <a:schemeClr val="tx1"/>
                  </a:solidFill>
                  <a:latin typeface="Verdana"/>
                </a:rPr>
                <a:t>2019</a:t>
              </a:r>
              <a:endParaRPr kumimoji="0" lang="de-DE" sz="1200" b="0" i="0" u="none" strike="noStrike" kern="1200" cap="none" spc="0" normalizeH="0" baseline="0" noProof="0" dirty="0">
                <a:ln>
                  <a:noFill/>
                </a:ln>
                <a:solidFill>
                  <a:prstClr val="white"/>
                </a:solidFill>
                <a:effectLst/>
                <a:uLnTx/>
                <a:uFillTx/>
                <a:latin typeface="Verdana"/>
                <a:ea typeface="+mn-ea"/>
                <a:cs typeface="+mn-cs"/>
              </a:endParaRPr>
            </a:p>
          </p:txBody>
        </p:sp>
      </p:grpSp>
      <p:grpSp>
        <p:nvGrpSpPr>
          <p:cNvPr id="18" name="Gruppieren 17"/>
          <p:cNvGrpSpPr/>
          <p:nvPr/>
        </p:nvGrpSpPr>
        <p:grpSpPr>
          <a:xfrm>
            <a:off x="3698526" y="2114229"/>
            <a:ext cx="2094302" cy="4257387"/>
            <a:chOff x="6552394" y="1231796"/>
            <a:chExt cx="1846376" cy="3759789"/>
          </a:xfrm>
        </p:grpSpPr>
        <p:sp>
          <p:nvSpPr>
            <p:cNvPr id="19" name="Freihandform 18"/>
            <p:cNvSpPr/>
            <p:nvPr/>
          </p:nvSpPr>
          <p:spPr>
            <a:xfrm>
              <a:off x="6552394" y="2688520"/>
              <a:ext cx="1846376" cy="2303065"/>
            </a:xfrm>
            <a:custGeom>
              <a:avLst/>
              <a:gdLst>
                <a:gd name="connsiteX0" fmla="*/ 0 w 1188726"/>
                <a:gd name="connsiteY0" fmla="*/ 0 h 792880"/>
                <a:gd name="connsiteX1" fmla="*/ 1188726 w 1188726"/>
                <a:gd name="connsiteY1" fmla="*/ 0 h 792880"/>
                <a:gd name="connsiteX2" fmla="*/ 1188726 w 1188726"/>
                <a:gd name="connsiteY2" fmla="*/ 792880 h 792880"/>
                <a:gd name="connsiteX3" fmla="*/ 0 w 1188726"/>
                <a:gd name="connsiteY3" fmla="*/ 792880 h 792880"/>
                <a:gd name="connsiteX4" fmla="*/ 0 w 1188726"/>
                <a:gd name="connsiteY4" fmla="*/ 0 h 79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8726" h="792880">
                  <a:moveTo>
                    <a:pt x="0" y="0"/>
                  </a:moveTo>
                  <a:lnTo>
                    <a:pt x="1188726" y="0"/>
                  </a:lnTo>
                  <a:lnTo>
                    <a:pt x="1188726" y="792880"/>
                  </a:lnTo>
                  <a:lnTo>
                    <a:pt x="0" y="792880"/>
                  </a:lnTo>
                  <a:lnTo>
                    <a:pt x="0" y="0"/>
                  </a:lnTo>
                  <a:close/>
                </a:path>
              </a:pathLst>
            </a:custGeom>
            <a:solidFill>
              <a:srgbClr val="DCE3E8">
                <a:alpha val="90000"/>
              </a:srgb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0196" tIns="99568" rIns="99568" bIns="99568" numCol="1" spcCol="1270" anchor="ctr" anchorCtr="0">
              <a:noAutofit/>
            </a:bodyPr>
            <a:lstStyle/>
            <a:p>
              <a:pPr marL="171450" lvl="0" indent="-171450" defTabSz="622300">
                <a:lnSpc>
                  <a:spcPct val="90000"/>
                </a:lnSpc>
                <a:spcBef>
                  <a:spcPct val="0"/>
                </a:spcBef>
                <a:spcAft>
                  <a:spcPct val="35000"/>
                </a:spcAft>
                <a:buFont typeface="Arial" panose="020B0604020202020204" pitchFamily="34" charset="0"/>
                <a:buChar char="•"/>
              </a:pPr>
              <a:r>
                <a:rPr lang="de-DE" sz="1200" dirty="0" err="1">
                  <a:solidFill>
                    <a:srgbClr val="000000"/>
                  </a:solidFill>
                  <a:effectLst>
                    <a:outerShdw blurRad="38100" dist="38100" dir="2700000" algn="tl">
                      <a:srgbClr val="000000">
                        <a:alpha val="43137"/>
                      </a:srgbClr>
                    </a:outerShdw>
                  </a:effectLst>
                  <a:latin typeface="Verdana"/>
                </a:rPr>
                <a:t>Builds</a:t>
              </a:r>
              <a:r>
                <a:rPr lang="de-DE" sz="1200" dirty="0">
                  <a:solidFill>
                    <a:srgbClr val="000000"/>
                  </a:solidFill>
                  <a:effectLst>
                    <a:outerShdw blurRad="38100" dist="38100" dir="2700000" algn="tl">
                      <a:srgbClr val="000000">
                        <a:alpha val="43137"/>
                      </a:srgbClr>
                    </a:outerShdw>
                  </a:effectLst>
                  <a:latin typeface="Verdana"/>
                </a:rPr>
                <a:t> on:</a:t>
              </a:r>
            </a:p>
            <a:p>
              <a:pPr marL="628650" lvl="1" indent="-171450" defTabSz="622300">
                <a:lnSpc>
                  <a:spcPct val="90000"/>
                </a:lnSpc>
                <a:spcBef>
                  <a:spcPct val="0"/>
                </a:spcBef>
                <a:spcAft>
                  <a:spcPct val="35000"/>
                </a:spcAft>
                <a:buFont typeface="Arial" panose="020B0604020202020204" pitchFamily="34" charset="0"/>
                <a:buChar char="•"/>
              </a:pPr>
              <a:r>
                <a:rPr lang="de-DE" sz="1200" dirty="0">
                  <a:solidFill>
                    <a:srgbClr val="000000"/>
                  </a:solidFill>
                  <a:effectLst>
                    <a:outerShdw blurRad="38100" dist="38100" dir="2700000" algn="tl">
                      <a:srgbClr val="000000">
                        <a:alpha val="43137"/>
                      </a:srgbClr>
                    </a:outerShdw>
                  </a:effectLst>
                  <a:latin typeface="Verdana"/>
                </a:rPr>
                <a:t>EU - Georgia </a:t>
              </a:r>
              <a:r>
                <a:rPr lang="de-DE" sz="1200" dirty="0" err="1">
                  <a:solidFill>
                    <a:srgbClr val="000000"/>
                  </a:solidFill>
                  <a:effectLst>
                    <a:outerShdw blurRad="38100" dist="38100" dir="2700000" algn="tl">
                      <a:srgbClr val="000000">
                        <a:alpha val="43137"/>
                      </a:srgbClr>
                    </a:outerShdw>
                  </a:effectLst>
                  <a:latin typeface="Verdana"/>
                </a:rPr>
                <a:t>Association</a:t>
              </a:r>
              <a:r>
                <a:rPr lang="de-DE" sz="1200" dirty="0">
                  <a:solidFill>
                    <a:srgbClr val="000000"/>
                  </a:solidFill>
                  <a:effectLst>
                    <a:outerShdw blurRad="38100" dist="38100" dir="2700000" algn="tl">
                      <a:srgbClr val="000000">
                        <a:alpha val="43137"/>
                      </a:srgbClr>
                    </a:outerShdw>
                  </a:effectLst>
                  <a:latin typeface="Verdana"/>
                </a:rPr>
                <a:t> Agreement, per </a:t>
              </a:r>
              <a:r>
                <a:rPr lang="en-US" sz="1200" u="sng" dirty="0">
                  <a:hlinkClick r:id="rId2"/>
                </a:rPr>
                <a:t>Decree</a:t>
              </a:r>
              <a:r>
                <a:rPr lang="ka-GE" sz="1200" dirty="0"/>
                <a:t> #536</a:t>
              </a:r>
              <a:r>
                <a:rPr lang="en-US" sz="1200" dirty="0"/>
                <a:t> of </a:t>
              </a:r>
              <a:r>
                <a:rPr lang="ka-GE" sz="1200" dirty="0"/>
                <a:t>31 </a:t>
              </a:r>
              <a:r>
                <a:rPr lang="en-US" sz="1200" dirty="0"/>
                <a:t>March </a:t>
              </a:r>
              <a:r>
                <a:rPr lang="ka-GE" sz="1200" dirty="0"/>
                <a:t>2016</a:t>
              </a:r>
              <a:r>
                <a:rPr lang="ka-GE" dirty="0"/>
                <a:t>.</a:t>
              </a:r>
              <a:endParaRPr lang="de-DE" sz="1200" dirty="0">
                <a:solidFill>
                  <a:srgbClr val="000000"/>
                </a:solidFill>
                <a:effectLst>
                  <a:outerShdw blurRad="38100" dist="38100" dir="2700000" algn="tl">
                    <a:srgbClr val="000000">
                      <a:alpha val="43137"/>
                    </a:srgbClr>
                  </a:outerShdw>
                </a:effectLst>
                <a:latin typeface="Verdana"/>
              </a:endParaRPr>
            </a:p>
            <a:p>
              <a:pPr marL="628650" lvl="1" indent="-171450" defTabSz="622300">
                <a:lnSpc>
                  <a:spcPct val="90000"/>
                </a:lnSpc>
                <a:spcBef>
                  <a:spcPct val="0"/>
                </a:spcBef>
                <a:spcAft>
                  <a:spcPct val="35000"/>
                </a:spcAft>
                <a:buFont typeface="Arial" panose="020B0604020202020204" pitchFamily="34" charset="0"/>
                <a:buChar char="•"/>
              </a:pPr>
              <a:r>
                <a:rPr lang="de-DE" sz="1200" dirty="0">
                  <a:solidFill>
                    <a:srgbClr val="000000"/>
                  </a:solidFill>
                  <a:effectLst>
                    <a:outerShdw blurRad="38100" dist="38100" dir="2700000" algn="tl">
                      <a:srgbClr val="000000">
                        <a:alpha val="43137"/>
                      </a:srgbClr>
                    </a:outerShdw>
                  </a:effectLst>
                  <a:latin typeface="Verdana"/>
                </a:rPr>
                <a:t>UN Convention </a:t>
              </a:r>
              <a:r>
                <a:rPr lang="de-DE" sz="1200" dirty="0" err="1">
                  <a:solidFill>
                    <a:srgbClr val="000000"/>
                  </a:solidFill>
                  <a:effectLst>
                    <a:outerShdw blurRad="38100" dist="38100" dir="2700000" algn="tl">
                      <a:srgbClr val="000000">
                        <a:alpha val="43137"/>
                      </a:srgbClr>
                    </a:outerShdw>
                  </a:effectLst>
                  <a:latin typeface="Verdana"/>
                </a:rPr>
                <a:t>Against</a:t>
              </a:r>
              <a:r>
                <a:rPr lang="de-DE" sz="1200" dirty="0">
                  <a:solidFill>
                    <a:srgbClr val="000000"/>
                  </a:solidFill>
                  <a:effectLst>
                    <a:outerShdw blurRad="38100" dist="38100" dir="2700000" algn="tl">
                      <a:srgbClr val="000000">
                        <a:alpha val="43137"/>
                      </a:srgbClr>
                    </a:outerShdw>
                  </a:effectLst>
                  <a:latin typeface="Verdana"/>
                </a:rPr>
                <a:t> </a:t>
              </a:r>
              <a:r>
                <a:rPr lang="de-DE" sz="1200" dirty="0" err="1">
                  <a:solidFill>
                    <a:srgbClr val="000000"/>
                  </a:solidFill>
                  <a:effectLst>
                    <a:outerShdw blurRad="38100" dist="38100" dir="2700000" algn="tl">
                      <a:srgbClr val="000000">
                        <a:alpha val="43137"/>
                      </a:srgbClr>
                    </a:outerShdw>
                  </a:effectLst>
                  <a:latin typeface="Verdana"/>
                </a:rPr>
                <a:t>Corruption</a:t>
              </a:r>
              <a:r>
                <a:rPr lang="de-DE" sz="1200" dirty="0">
                  <a:solidFill>
                    <a:srgbClr val="000000"/>
                  </a:solidFill>
                  <a:effectLst>
                    <a:outerShdw blurRad="38100" dist="38100" dir="2700000" algn="tl">
                      <a:srgbClr val="000000">
                        <a:alpha val="43137"/>
                      </a:srgbClr>
                    </a:outerShdw>
                  </a:effectLst>
                  <a:latin typeface="Verdana"/>
                </a:rPr>
                <a:t> (UNCAC)</a:t>
              </a:r>
            </a:p>
            <a:p>
              <a:pPr marL="171450" lvl="0" indent="-171450" defTabSz="622300">
                <a:lnSpc>
                  <a:spcPct val="90000"/>
                </a:lnSpc>
                <a:spcBef>
                  <a:spcPct val="0"/>
                </a:spcBef>
                <a:spcAft>
                  <a:spcPct val="35000"/>
                </a:spcAft>
                <a:buFont typeface="Arial" panose="020B0604020202020204" pitchFamily="34" charset="0"/>
                <a:buChar char="•"/>
              </a:pPr>
              <a:endParaRPr lang="de-DE" sz="1200" dirty="0">
                <a:solidFill>
                  <a:srgbClr val="000000"/>
                </a:solidFill>
                <a:effectLst>
                  <a:outerShdw blurRad="38100" dist="38100" dir="2700000" algn="tl">
                    <a:srgbClr val="000000">
                      <a:alpha val="43137"/>
                    </a:srgbClr>
                  </a:outerShdw>
                </a:effectLst>
                <a:latin typeface="Verdana"/>
              </a:endParaRPr>
            </a:p>
          </p:txBody>
        </p:sp>
        <p:sp>
          <p:nvSpPr>
            <p:cNvPr id="20" name="Freihandform 19"/>
            <p:cNvSpPr/>
            <p:nvPr/>
          </p:nvSpPr>
          <p:spPr>
            <a:xfrm>
              <a:off x="6552394" y="1231796"/>
              <a:ext cx="1362243" cy="1381607"/>
            </a:xfrm>
            <a:custGeom>
              <a:avLst/>
              <a:gdLst>
                <a:gd name="connsiteX0" fmla="*/ 0 w 971070"/>
                <a:gd name="connsiteY0" fmla="*/ 486617 h 973234"/>
                <a:gd name="connsiteX1" fmla="*/ 485535 w 971070"/>
                <a:gd name="connsiteY1" fmla="*/ 0 h 973234"/>
                <a:gd name="connsiteX2" fmla="*/ 971070 w 971070"/>
                <a:gd name="connsiteY2" fmla="*/ 486617 h 973234"/>
                <a:gd name="connsiteX3" fmla="*/ 485535 w 971070"/>
                <a:gd name="connsiteY3" fmla="*/ 973234 h 973234"/>
                <a:gd name="connsiteX4" fmla="*/ 0 w 971070"/>
                <a:gd name="connsiteY4" fmla="*/ 486617 h 973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71070" h="973234">
                  <a:moveTo>
                    <a:pt x="0" y="486617"/>
                  </a:moveTo>
                  <a:cubicBezTo>
                    <a:pt x="0" y="217866"/>
                    <a:pt x="217381" y="0"/>
                    <a:pt x="485535" y="0"/>
                  </a:cubicBezTo>
                  <a:cubicBezTo>
                    <a:pt x="753689" y="0"/>
                    <a:pt x="971070" y="217866"/>
                    <a:pt x="971070" y="486617"/>
                  </a:cubicBezTo>
                  <a:cubicBezTo>
                    <a:pt x="971070" y="755368"/>
                    <a:pt x="753689" y="973234"/>
                    <a:pt x="485535" y="973234"/>
                  </a:cubicBezTo>
                  <a:cubicBezTo>
                    <a:pt x="217381" y="973234"/>
                    <a:pt x="0" y="755368"/>
                    <a:pt x="0" y="486617"/>
                  </a:cubicBezTo>
                  <a:close/>
                </a:path>
              </a:pathLst>
            </a:custGeom>
            <a:solidFill>
              <a:srgbClr val="FFFF0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2210" tIns="142527" rIns="142210" bIns="142527" numCol="1" spcCol="1270" anchor="ctr" anchorCtr="0">
              <a:noAutofit/>
            </a:bodyPr>
            <a:lstStyle/>
            <a:p>
              <a:pPr lvl="0" algn="ctr" defTabSz="400050">
                <a:lnSpc>
                  <a:spcPct val="90000"/>
                </a:lnSpc>
                <a:spcBef>
                  <a:spcPct val="0"/>
                </a:spcBef>
                <a:spcAft>
                  <a:spcPct val="35000"/>
                </a:spcAft>
                <a:defRPr/>
              </a:pPr>
              <a:r>
                <a:rPr kumimoji="0" lang="de-DE" sz="1200" b="1" i="0" u="none" strike="noStrike" kern="1200" cap="none" spc="0" normalizeH="0" baseline="0" noProof="0" dirty="0">
                  <a:ln>
                    <a:noFill/>
                  </a:ln>
                  <a:solidFill>
                    <a:schemeClr val="tx1"/>
                  </a:solidFill>
                  <a:effectLst/>
                  <a:uLnTx/>
                  <a:uFillTx/>
                  <a:latin typeface="Verdana"/>
                  <a:ea typeface="+mn-ea"/>
                  <a:cs typeface="+mn-cs"/>
                </a:rPr>
                <a:t>National Anti-</a:t>
              </a:r>
              <a:r>
                <a:rPr kumimoji="0" lang="de-DE" sz="1200" b="1" i="0" u="none" strike="noStrike" kern="1200" cap="none" spc="0" normalizeH="0" baseline="0" noProof="0" dirty="0" err="1">
                  <a:ln>
                    <a:noFill/>
                  </a:ln>
                  <a:solidFill>
                    <a:schemeClr val="tx1"/>
                  </a:solidFill>
                  <a:effectLst/>
                  <a:uLnTx/>
                  <a:uFillTx/>
                  <a:latin typeface="Verdana"/>
                  <a:ea typeface="+mn-ea"/>
                  <a:cs typeface="+mn-cs"/>
                </a:rPr>
                <a:t>Corruption</a:t>
              </a:r>
              <a:r>
                <a:rPr kumimoji="0" lang="de-DE" sz="1200" b="1" i="0" u="none" strike="noStrike" kern="1200" cap="none" spc="0" normalizeH="0" baseline="0" noProof="0" dirty="0">
                  <a:ln>
                    <a:noFill/>
                  </a:ln>
                  <a:solidFill>
                    <a:schemeClr val="tx1"/>
                  </a:solidFill>
                  <a:effectLst/>
                  <a:uLnTx/>
                  <a:uFillTx/>
                  <a:latin typeface="Verdana"/>
                  <a:ea typeface="+mn-ea"/>
                  <a:cs typeface="+mn-cs"/>
                </a:rPr>
                <a:t> </a:t>
              </a:r>
              <a:r>
                <a:rPr kumimoji="0" lang="de-DE" sz="1200" b="1" i="0" u="none" strike="noStrike" kern="1200" cap="none" spc="0" normalizeH="0" baseline="0" noProof="0" dirty="0" err="1">
                  <a:ln>
                    <a:noFill/>
                  </a:ln>
                  <a:solidFill>
                    <a:schemeClr val="tx1"/>
                  </a:solidFill>
                  <a:effectLst/>
                  <a:uLnTx/>
                  <a:uFillTx/>
                  <a:latin typeface="Verdana"/>
                  <a:ea typeface="+mn-ea"/>
                  <a:cs typeface="+mn-cs"/>
                </a:rPr>
                <a:t>Strategy</a:t>
              </a:r>
              <a:endParaRPr kumimoji="0" lang="de-DE" sz="1200" b="1" i="0" u="none" strike="noStrike" kern="1200" cap="none" spc="0" normalizeH="0" baseline="0" noProof="0" dirty="0">
                <a:ln>
                  <a:noFill/>
                </a:ln>
                <a:solidFill>
                  <a:schemeClr val="tx1"/>
                </a:solidFill>
                <a:effectLst/>
                <a:uLnTx/>
                <a:uFillTx/>
                <a:latin typeface="Verdana"/>
                <a:ea typeface="+mn-ea"/>
                <a:cs typeface="+mn-cs"/>
              </a:endParaRPr>
            </a:p>
            <a:p>
              <a:pPr lvl="0" algn="ctr" defTabSz="400050">
                <a:lnSpc>
                  <a:spcPct val="90000"/>
                </a:lnSpc>
                <a:spcBef>
                  <a:spcPct val="0"/>
                </a:spcBef>
                <a:spcAft>
                  <a:spcPct val="35000"/>
                </a:spcAft>
                <a:defRPr/>
              </a:pPr>
              <a:r>
                <a:rPr lang="de-DE" sz="1200" b="1" dirty="0">
                  <a:solidFill>
                    <a:schemeClr val="tx1"/>
                  </a:solidFill>
                  <a:latin typeface="Verdana"/>
                </a:rPr>
                <a:t>2017-2018</a:t>
              </a:r>
              <a:endParaRPr kumimoji="0" lang="de-DE" sz="1200" b="1" i="0" u="none" strike="noStrike" kern="1200" cap="none" spc="0" normalizeH="0" baseline="0" noProof="0" dirty="0">
                <a:ln>
                  <a:noFill/>
                </a:ln>
                <a:solidFill>
                  <a:schemeClr val="tx1"/>
                </a:solidFill>
                <a:effectLst/>
                <a:uLnTx/>
                <a:uFillTx/>
                <a:latin typeface="Verdana"/>
              </a:endParaRPr>
            </a:p>
          </p:txBody>
        </p:sp>
      </p:grpSp>
    </p:spTree>
    <p:extLst>
      <p:ext uri="{BB962C8B-B14F-4D97-AF65-F5344CB8AC3E}">
        <p14:creationId xmlns:p14="http://schemas.microsoft.com/office/powerpoint/2010/main" val="3896618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1538437221"/>
              </p:ext>
            </p:extLst>
          </p:nvPr>
        </p:nvGraphicFramePr>
        <p:xfrm>
          <a:off x="2031999" y="155196"/>
          <a:ext cx="8856911" cy="67028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Picture 20" descr="C:\Documents and Settings\cry3860\Local Settings\Temporary Internet Files\Content.IE5\29HE4BDD\MPj04227250000[1].jpg">
            <a:extLst>
              <a:ext uri="{FF2B5EF4-FFF2-40B4-BE49-F238E27FC236}">
                <a16:creationId xmlns:a16="http://schemas.microsoft.com/office/drawing/2014/main" id="{5D4A73F2-7A2B-44E3-AFCB-AC4D3D1B9D9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68106" y="1139881"/>
            <a:ext cx="1063893" cy="113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Conflict of Interest</a:t>
            </a:r>
          </a:p>
        </p:txBody>
      </p:sp>
      <p:sp>
        <p:nvSpPr>
          <p:cNvPr id="2" name="TextBox 1">
            <a:extLst>
              <a:ext uri="{FF2B5EF4-FFF2-40B4-BE49-F238E27FC236}">
                <a16:creationId xmlns:a16="http://schemas.microsoft.com/office/drawing/2014/main" id="{34FF5E2C-8024-4D40-AC5F-7D9F512DCDE6}"/>
              </a:ext>
            </a:extLst>
          </p:cNvPr>
          <p:cNvSpPr txBox="1"/>
          <p:nvPr/>
        </p:nvSpPr>
        <p:spPr>
          <a:xfrm>
            <a:off x="2031999" y="5651770"/>
            <a:ext cx="4495261" cy="584775"/>
          </a:xfrm>
          <a:prstGeom prst="rect">
            <a:avLst/>
          </a:prstGeom>
          <a:solidFill>
            <a:srgbClr val="FFFF00"/>
          </a:solidFill>
        </p:spPr>
        <p:txBody>
          <a:bodyPr wrap="square" rtlCol="0">
            <a:spAutoFit/>
          </a:bodyPr>
          <a:lstStyle/>
          <a:p>
            <a:pPr algn="ctr"/>
            <a:r>
              <a:rPr lang="en-US" sz="1600" b="1" dirty="0"/>
              <a:t>Georgia Conflict of Interest Law:  Gifts not to exceed 15% of annual compensation.</a:t>
            </a:r>
          </a:p>
        </p:txBody>
      </p:sp>
      <p:sp>
        <p:nvSpPr>
          <p:cNvPr id="3" name="Rectangle 2">
            <a:extLst>
              <a:ext uri="{FF2B5EF4-FFF2-40B4-BE49-F238E27FC236}">
                <a16:creationId xmlns:a16="http://schemas.microsoft.com/office/drawing/2014/main" id="{B7DE7E57-D0E3-4F34-B072-84E5298F9B30}"/>
              </a:ext>
            </a:extLst>
          </p:cNvPr>
          <p:cNvSpPr/>
          <p:nvPr/>
        </p:nvSpPr>
        <p:spPr>
          <a:xfrm>
            <a:off x="6527260" y="5637817"/>
            <a:ext cx="4361650" cy="584775"/>
          </a:xfrm>
          <a:prstGeom prst="rect">
            <a:avLst/>
          </a:prstGeom>
          <a:solidFill>
            <a:srgbClr val="FFC000"/>
          </a:solidFill>
        </p:spPr>
        <p:txBody>
          <a:bodyPr wrap="square">
            <a:spAutoFit/>
          </a:bodyPr>
          <a:lstStyle/>
          <a:p>
            <a:pPr algn="ctr"/>
            <a:r>
              <a:rPr lang="en-US" sz="1600" b="1" dirty="0"/>
              <a:t>Georgia Conflict of Interest Law:  Officials not to disclose confidential information.</a:t>
            </a:r>
          </a:p>
        </p:txBody>
      </p:sp>
      <p:sp>
        <p:nvSpPr>
          <p:cNvPr id="9" name="TextBox 8">
            <a:extLst>
              <a:ext uri="{FF2B5EF4-FFF2-40B4-BE49-F238E27FC236}">
                <a16:creationId xmlns:a16="http://schemas.microsoft.com/office/drawing/2014/main" id="{11A3D90F-5A8D-41E7-A4C6-D5ABF531A492}"/>
              </a:ext>
            </a:extLst>
          </p:cNvPr>
          <p:cNvSpPr txBox="1"/>
          <p:nvPr/>
        </p:nvSpPr>
        <p:spPr>
          <a:xfrm>
            <a:off x="3326860" y="6236545"/>
            <a:ext cx="6361889" cy="584775"/>
          </a:xfrm>
          <a:prstGeom prst="rect">
            <a:avLst/>
          </a:prstGeom>
          <a:solidFill>
            <a:schemeClr val="accent1">
              <a:lumMod val="90000"/>
            </a:schemeClr>
          </a:solidFill>
        </p:spPr>
        <p:txBody>
          <a:bodyPr wrap="square" rtlCol="0">
            <a:spAutoFit/>
          </a:bodyPr>
          <a:lstStyle/>
          <a:p>
            <a:pPr algn="ctr"/>
            <a:r>
              <a:rPr lang="en-US" sz="1600" b="1" dirty="0"/>
              <a:t>Georgia Conflict of Interest Law:  3-year “revolving door” bar against work at supervised entity.</a:t>
            </a:r>
          </a:p>
        </p:txBody>
      </p:sp>
    </p:spTree>
    <p:extLst>
      <p:ext uri="{BB962C8B-B14F-4D97-AF65-F5344CB8AC3E}">
        <p14:creationId xmlns:p14="http://schemas.microsoft.com/office/powerpoint/2010/main" val="26017531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b="1" dirty="0">
                <a:solidFill>
                  <a:schemeClr val="tx1"/>
                </a:solidFill>
              </a:rPr>
              <a:t>Exclusion and debarment</a:t>
            </a:r>
          </a:p>
        </p:txBody>
      </p:sp>
      <p:sp>
        <p:nvSpPr>
          <p:cNvPr id="3" name="Text Placeholder 2"/>
          <p:cNvSpPr>
            <a:spLocks noGrp="1"/>
          </p:cNvSpPr>
          <p:nvPr>
            <p:ph type="body" idx="1"/>
          </p:nvPr>
        </p:nvSpPr>
        <p:spPr/>
        <p:txBody>
          <a:bodyPr/>
          <a:lstStyle/>
          <a:p>
            <a:pPr>
              <a:defRPr/>
            </a:pPr>
            <a:endParaRPr lang="en-US"/>
          </a:p>
        </p:txBody>
      </p:sp>
    </p:spTree>
    <p:extLst>
      <p:ext uri="{BB962C8B-B14F-4D97-AF65-F5344CB8AC3E}">
        <p14:creationId xmlns:p14="http://schemas.microsoft.com/office/powerpoint/2010/main" val="3694714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8" descr="C:\Documents and Settings\cry3860\Local Settings\Temporary Internet Files\Content.IE5\4VSDYZDM\MPj04065550000[1].jpg">
            <a:extLst>
              <a:ext uri="{FF2B5EF4-FFF2-40B4-BE49-F238E27FC236}">
                <a16:creationId xmlns:a16="http://schemas.microsoft.com/office/drawing/2014/main" id="{67215A15-5493-45BE-AADD-AC053C610A8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3704" y="1182428"/>
            <a:ext cx="1389223" cy="17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423362728"/>
              </p:ext>
            </p:extLst>
          </p:nvPr>
        </p:nvGraphicFramePr>
        <p:xfrm>
          <a:off x="2099531" y="475488"/>
          <a:ext cx="8856911" cy="6702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389545" y="3731005"/>
            <a:ext cx="386313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dirty="0">
                <a:solidFill>
                  <a:schemeClr val="tx1"/>
                </a:solidFill>
              </a:rPr>
              <a:t>Exclusion/Debarment</a:t>
            </a:r>
          </a:p>
        </p:txBody>
      </p:sp>
    </p:spTree>
    <p:extLst>
      <p:ext uri="{BB962C8B-B14F-4D97-AF65-F5344CB8AC3E}">
        <p14:creationId xmlns:p14="http://schemas.microsoft.com/office/powerpoint/2010/main" val="18824690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3385627557"/>
              </p:ext>
            </p:extLst>
          </p:nvPr>
        </p:nvGraphicFramePr>
        <p:xfrm>
          <a:off x="1862983" y="1828799"/>
          <a:ext cx="6848030" cy="4704657"/>
        </p:xfrm>
        <a:graphic>
          <a:graphicData uri="http://schemas.openxmlformats.org/drawingml/2006/table">
            <a:tbl>
              <a:tblPr firstRow="1" bandRow="1">
                <a:tableStyleId>{5C22544A-7EE6-4342-B048-85BDC9FD1C3A}</a:tableStyleId>
              </a:tblPr>
              <a:tblGrid>
                <a:gridCol w="3424015">
                  <a:extLst>
                    <a:ext uri="{9D8B030D-6E8A-4147-A177-3AD203B41FA5}">
                      <a16:colId xmlns:a16="http://schemas.microsoft.com/office/drawing/2014/main" val="20000"/>
                    </a:ext>
                  </a:extLst>
                </a:gridCol>
                <a:gridCol w="3424015">
                  <a:extLst>
                    <a:ext uri="{9D8B030D-6E8A-4147-A177-3AD203B41FA5}">
                      <a16:colId xmlns:a16="http://schemas.microsoft.com/office/drawing/2014/main" val="20001"/>
                    </a:ext>
                  </a:extLst>
                </a:gridCol>
              </a:tblGrid>
              <a:tr h="611443">
                <a:tc>
                  <a:txBody>
                    <a:bodyPr/>
                    <a:lstStyle/>
                    <a:p>
                      <a:pPr algn="ctr"/>
                      <a:r>
                        <a:rPr lang="en-US" sz="1800" dirty="0"/>
                        <a:t>United States:</a:t>
                      </a:r>
                    </a:p>
                    <a:p>
                      <a:pPr algn="ctr"/>
                      <a:r>
                        <a:rPr lang="en-US" sz="1800" dirty="0"/>
                        <a:t>Qualification  </a:t>
                      </a:r>
                    </a:p>
                  </a:txBody>
                  <a:tcPr marT="45725" marB="45725">
                    <a:solidFill>
                      <a:schemeClr val="bg1">
                        <a:lumMod val="50000"/>
                      </a:schemeClr>
                    </a:solidFill>
                  </a:tcPr>
                </a:tc>
                <a:tc>
                  <a:txBody>
                    <a:bodyPr/>
                    <a:lstStyle/>
                    <a:p>
                      <a:pPr algn="l"/>
                      <a:r>
                        <a:rPr lang="en-US" sz="1600" dirty="0"/>
                        <a:t>UNCITRAL: Qualification</a:t>
                      </a:r>
                    </a:p>
                  </a:txBody>
                  <a:tcPr marT="45725" marB="45725">
                    <a:solidFill>
                      <a:schemeClr val="bg1">
                        <a:lumMod val="50000"/>
                      </a:schemeClr>
                    </a:solidFill>
                  </a:tcPr>
                </a:tc>
                <a:extLst>
                  <a:ext uri="{0D108BD9-81ED-4DB2-BD59-A6C34878D82A}">
                    <a16:rowId xmlns:a16="http://schemas.microsoft.com/office/drawing/2014/main" val="10000"/>
                  </a:ext>
                </a:extLst>
              </a:tr>
              <a:tr h="611443">
                <a:tc>
                  <a:txBody>
                    <a:bodyPr/>
                    <a:lstStyle/>
                    <a:p>
                      <a:r>
                        <a:rPr lang="en-US" sz="1800" baseline="0" dirty="0"/>
                        <a:t>Adequate financial resources </a:t>
                      </a:r>
                      <a:endParaRPr lang="en-US" sz="1800" dirty="0"/>
                    </a:p>
                  </a:txBody>
                  <a:tcPr marT="45725" marB="45725"/>
                </a:tc>
                <a:tc>
                  <a:txBody>
                    <a:bodyPr/>
                    <a:lstStyle/>
                    <a:p>
                      <a:r>
                        <a:rPr lang="en-US" sz="1800" dirty="0"/>
                        <a:t>Adequate</a:t>
                      </a:r>
                      <a:r>
                        <a:rPr lang="en-US" sz="1800" baseline="0" dirty="0"/>
                        <a:t> financial resources; not insolvent</a:t>
                      </a:r>
                      <a:endParaRPr lang="en-US" sz="1800" dirty="0"/>
                    </a:p>
                  </a:txBody>
                  <a:tcPr marT="45725" marB="45725"/>
                </a:tc>
                <a:extLst>
                  <a:ext uri="{0D108BD9-81ED-4DB2-BD59-A6C34878D82A}">
                    <a16:rowId xmlns:a16="http://schemas.microsoft.com/office/drawing/2014/main" val="10001"/>
                  </a:ext>
                </a:extLst>
              </a:tr>
              <a:tr h="335307">
                <a:tc>
                  <a:txBody>
                    <a:bodyPr/>
                    <a:lstStyle/>
                    <a:p>
                      <a:r>
                        <a:rPr lang="en-US" sz="1800" dirty="0"/>
                        <a:t>Technical</a:t>
                      </a:r>
                      <a:r>
                        <a:rPr lang="en-US" sz="1800" baseline="0" dirty="0"/>
                        <a:t> qualifications</a:t>
                      </a:r>
                      <a:endParaRPr lang="en-US" sz="1800" dirty="0"/>
                    </a:p>
                  </a:txBody>
                  <a:tcPr marT="45725" marB="45725"/>
                </a:tc>
                <a:tc>
                  <a:txBody>
                    <a:bodyPr/>
                    <a:lstStyle/>
                    <a:p>
                      <a:r>
                        <a:rPr lang="en-US" sz="1800" dirty="0"/>
                        <a:t>Technical qualifications</a:t>
                      </a:r>
                    </a:p>
                  </a:txBody>
                  <a:tcPr marT="45725" marB="45725"/>
                </a:tc>
                <a:extLst>
                  <a:ext uri="{0D108BD9-81ED-4DB2-BD59-A6C34878D82A}">
                    <a16:rowId xmlns:a16="http://schemas.microsoft.com/office/drawing/2014/main" val="10002"/>
                  </a:ext>
                </a:extLst>
              </a:tr>
              <a:tr h="335307">
                <a:tc>
                  <a:txBody>
                    <a:bodyPr/>
                    <a:lstStyle/>
                    <a:p>
                      <a:r>
                        <a:rPr lang="en-US" sz="1800" dirty="0"/>
                        <a:t>Integrity</a:t>
                      </a:r>
                      <a:r>
                        <a:rPr lang="en-US" sz="1800" baseline="0" dirty="0"/>
                        <a:t> and business ethics</a:t>
                      </a:r>
                      <a:endParaRPr lang="en-US" sz="1800" dirty="0"/>
                    </a:p>
                  </a:txBody>
                  <a:tcPr marT="45725" marB="45725"/>
                </a:tc>
                <a:tc>
                  <a:txBody>
                    <a:bodyPr/>
                    <a:lstStyle/>
                    <a:p>
                      <a:r>
                        <a:rPr lang="en-US" sz="1800" dirty="0"/>
                        <a:t>Integrity and business ethics</a:t>
                      </a:r>
                    </a:p>
                  </a:txBody>
                  <a:tcPr marT="45725" marB="45725"/>
                </a:tc>
                <a:extLst>
                  <a:ext uri="{0D108BD9-81ED-4DB2-BD59-A6C34878D82A}">
                    <a16:rowId xmlns:a16="http://schemas.microsoft.com/office/drawing/2014/main" val="10003"/>
                  </a:ext>
                </a:extLst>
              </a:tr>
              <a:tr h="611443">
                <a:tc>
                  <a:txBody>
                    <a:bodyPr/>
                    <a:lstStyle/>
                    <a:p>
                      <a:r>
                        <a:rPr lang="en-US" sz="1800" dirty="0"/>
                        <a:t>Capable of performing</a:t>
                      </a:r>
                    </a:p>
                  </a:txBody>
                  <a:tcPr marT="45725" marB="4572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apable of performing</a:t>
                      </a:r>
                    </a:p>
                    <a:p>
                      <a:endParaRPr lang="en-US" sz="1800" dirty="0"/>
                    </a:p>
                  </a:txBody>
                  <a:tcPr marT="45725" marB="45725"/>
                </a:tc>
                <a:extLst>
                  <a:ext uri="{0D108BD9-81ED-4DB2-BD59-A6C34878D82A}">
                    <a16:rowId xmlns:a16="http://schemas.microsoft.com/office/drawing/2014/main" val="10004"/>
                  </a:ext>
                </a:extLst>
              </a:tr>
              <a:tr h="335307">
                <a:tc>
                  <a:txBody>
                    <a:bodyPr/>
                    <a:lstStyle/>
                    <a:p>
                      <a:r>
                        <a:rPr lang="en-US" sz="1800" dirty="0"/>
                        <a:t>Necessary</a:t>
                      </a:r>
                      <a:r>
                        <a:rPr lang="en-US" sz="1800" baseline="0" dirty="0"/>
                        <a:t> facilities</a:t>
                      </a:r>
                      <a:endParaRPr lang="en-US" sz="1800" dirty="0"/>
                    </a:p>
                  </a:txBody>
                  <a:tcPr marT="45725" marB="45725"/>
                </a:tc>
                <a:tc>
                  <a:txBody>
                    <a:bodyPr/>
                    <a:lstStyle/>
                    <a:p>
                      <a:r>
                        <a:rPr lang="en-US" sz="1800" dirty="0"/>
                        <a:t>Necessary facilities</a:t>
                      </a:r>
                    </a:p>
                  </a:txBody>
                  <a:tcPr marT="45725" marB="45725"/>
                </a:tc>
                <a:extLst>
                  <a:ext uri="{0D108BD9-81ED-4DB2-BD59-A6C34878D82A}">
                    <a16:rowId xmlns:a16="http://schemas.microsoft.com/office/drawing/2014/main" val="10005"/>
                  </a:ext>
                </a:extLst>
              </a:tr>
              <a:tr h="611443">
                <a:tc>
                  <a:txBody>
                    <a:bodyPr/>
                    <a:lstStyle/>
                    <a:p>
                      <a:r>
                        <a:rPr lang="en-US" sz="1800" dirty="0"/>
                        <a:t>Satisfactory performance record</a:t>
                      </a:r>
                    </a:p>
                  </a:txBody>
                  <a:tcPr marT="45725" marB="45725"/>
                </a:tc>
                <a:tc>
                  <a:txBody>
                    <a:bodyPr/>
                    <a:lstStyle/>
                    <a:p>
                      <a:r>
                        <a:rPr lang="en-US" sz="1800" dirty="0"/>
                        <a:t>“Capability,</a:t>
                      </a:r>
                      <a:r>
                        <a:rPr lang="en-US" sz="1800" baseline="0" dirty="0"/>
                        <a:t> reliability and experience”</a:t>
                      </a:r>
                      <a:endParaRPr lang="en-US" sz="1800" dirty="0"/>
                    </a:p>
                  </a:txBody>
                  <a:tcPr marT="45725" marB="45725"/>
                </a:tc>
                <a:extLst>
                  <a:ext uri="{0D108BD9-81ED-4DB2-BD59-A6C34878D82A}">
                    <a16:rowId xmlns:a16="http://schemas.microsoft.com/office/drawing/2014/main" val="10006"/>
                  </a:ext>
                </a:extLst>
              </a:tr>
              <a:tr h="335307">
                <a:tc>
                  <a:txBody>
                    <a:bodyPr/>
                    <a:lstStyle/>
                    <a:p>
                      <a:r>
                        <a:rPr lang="en-US" sz="1800" dirty="0"/>
                        <a:t>Paid federal taxes</a:t>
                      </a:r>
                    </a:p>
                  </a:txBody>
                  <a:tcPr marT="45725" marB="45725"/>
                </a:tc>
                <a:tc>
                  <a:txBody>
                    <a:bodyPr/>
                    <a:lstStyle/>
                    <a:p>
                      <a:r>
                        <a:rPr lang="en-US" sz="1800" dirty="0"/>
                        <a:t>Paid taxes</a:t>
                      </a:r>
                    </a:p>
                  </a:txBody>
                  <a:tcPr marT="45725" marB="45725"/>
                </a:tc>
                <a:extLst>
                  <a:ext uri="{0D108BD9-81ED-4DB2-BD59-A6C34878D82A}">
                    <a16:rowId xmlns:a16="http://schemas.microsoft.com/office/drawing/2014/main" val="10007"/>
                  </a:ext>
                </a:extLst>
              </a:tr>
              <a:tr h="681217">
                <a:tc>
                  <a:txBody>
                    <a:bodyPr/>
                    <a:lstStyle/>
                    <a:p>
                      <a:r>
                        <a:rPr lang="en-US" sz="1800" dirty="0"/>
                        <a:t>Contractor</a:t>
                      </a:r>
                      <a:r>
                        <a:rPr lang="en-US" sz="1800" baseline="0" dirty="0"/>
                        <a:t> and principals not convicted or debarred</a:t>
                      </a:r>
                      <a:endParaRPr lang="en-US" sz="1800" dirty="0"/>
                    </a:p>
                  </a:txBody>
                  <a:tcPr marT="45725" marB="45725"/>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800" dirty="0"/>
                        <a:t>Contractor</a:t>
                      </a:r>
                      <a:r>
                        <a:rPr lang="en-US" sz="1800" baseline="0" dirty="0"/>
                        <a:t> and principals not convicted or debarred</a:t>
                      </a:r>
                      <a:endParaRPr lang="en-US" sz="1800" dirty="0"/>
                    </a:p>
                  </a:txBody>
                  <a:tcPr marT="45725" marB="45725"/>
                </a:tc>
                <a:extLst>
                  <a:ext uri="{0D108BD9-81ED-4DB2-BD59-A6C34878D82A}">
                    <a16:rowId xmlns:a16="http://schemas.microsoft.com/office/drawing/2014/main" val="10008"/>
                  </a:ext>
                </a:extLst>
              </a:tr>
            </a:tbl>
          </a:graphicData>
        </a:graphic>
      </p:graphicFrame>
      <p:pic>
        <p:nvPicPr>
          <p:cNvPr id="87075" name="Picture 2" descr="C:\Documents and Settings\cry3860\Local Settings\Temporary Internet Files\Content.IE5\TEZT24IO\MP900362859[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11013" y="1828800"/>
            <a:ext cx="1281113" cy="85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76" name="Picture 3" descr="C:\Documents and Settings\cry3860\Local Settings\Temporary Internet Files\Content.IE5\TEZT24IO\MP900400667[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1492" y="1828799"/>
            <a:ext cx="931491" cy="9314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1A68A596-73C5-452C-953D-B452D2C86F3F}"/>
              </a:ext>
            </a:extLst>
          </p:cNvPr>
          <p:cNvSpPr txBox="1"/>
          <p:nvPr/>
        </p:nvSpPr>
        <p:spPr>
          <a:xfrm>
            <a:off x="2090871" y="1174303"/>
            <a:ext cx="6392254" cy="461665"/>
          </a:xfrm>
          <a:prstGeom prst="rect">
            <a:avLst/>
          </a:prstGeom>
          <a:noFill/>
        </p:spPr>
        <p:txBody>
          <a:bodyPr wrap="square" rtlCol="0">
            <a:spAutoFit/>
          </a:bodyPr>
          <a:lstStyle/>
          <a:p>
            <a:pPr algn="ctr"/>
            <a:r>
              <a:rPr lang="en-US" sz="2400" b="1" dirty="0"/>
              <a:t>USA vs. United Nations Model Law</a:t>
            </a:r>
          </a:p>
        </p:txBody>
      </p:sp>
    </p:spTree>
    <p:extLst>
      <p:ext uri="{BB962C8B-B14F-4D97-AF65-F5344CB8AC3E}">
        <p14:creationId xmlns:p14="http://schemas.microsoft.com/office/powerpoint/2010/main" val="40138828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BF2F289-1449-44BC-8272-0D8D76F5AE71}"/>
              </a:ext>
            </a:extLst>
          </p:cNvPr>
          <p:cNvPicPr>
            <a:picLocks noChangeAspect="1"/>
          </p:cNvPicPr>
          <p:nvPr/>
        </p:nvPicPr>
        <p:blipFill>
          <a:blip r:embed="rId2"/>
          <a:stretch>
            <a:fillRect/>
          </a:stretch>
        </p:blipFill>
        <p:spPr>
          <a:xfrm>
            <a:off x="4681198" y="3931815"/>
            <a:ext cx="843233" cy="868785"/>
          </a:xfrm>
          <a:prstGeom prst="rect">
            <a:avLst/>
          </a:prstGeom>
        </p:spPr>
      </p:pic>
      <p:sp>
        <p:nvSpPr>
          <p:cNvPr id="88066" name="Down Arrow 16"/>
          <p:cNvSpPr>
            <a:spLocks noChangeArrowheads="1"/>
          </p:cNvSpPr>
          <p:nvPr/>
        </p:nvSpPr>
        <p:spPr bwMode="auto">
          <a:xfrm rot="-2947786">
            <a:off x="7315200" y="3824836"/>
            <a:ext cx="533400" cy="2165350"/>
          </a:xfrm>
          <a:prstGeom prst="downArrow">
            <a:avLst>
              <a:gd name="adj1" fmla="val 50000"/>
              <a:gd name="adj2" fmla="val 49992"/>
            </a:avLst>
          </a:prstGeom>
          <a:solidFill>
            <a:schemeClr val="bg2"/>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88067" name="Down Arrow 13"/>
          <p:cNvSpPr>
            <a:spLocks noChangeArrowheads="1"/>
          </p:cNvSpPr>
          <p:nvPr/>
        </p:nvSpPr>
        <p:spPr bwMode="auto">
          <a:xfrm>
            <a:off x="5867400" y="4876800"/>
            <a:ext cx="533400" cy="457200"/>
          </a:xfrm>
          <a:prstGeom prst="downArrow">
            <a:avLst>
              <a:gd name="adj1" fmla="val 50000"/>
              <a:gd name="adj2" fmla="val 50000"/>
            </a:avLst>
          </a:prstGeom>
          <a:solidFill>
            <a:schemeClr val="bg2"/>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2" name="Title 1"/>
          <p:cNvSpPr>
            <a:spLocks noGrp="1"/>
          </p:cNvSpPr>
          <p:nvPr>
            <p:ph type="title" idx="4294967295"/>
          </p:nvPr>
        </p:nvSpPr>
        <p:spPr>
          <a:xfrm>
            <a:off x="0" y="1066800"/>
            <a:ext cx="8229600" cy="1143000"/>
          </a:xfrm>
        </p:spPr>
        <p:txBody>
          <a:bodyPr/>
          <a:lstStyle/>
          <a:p>
            <a:pPr>
              <a:defRPr/>
            </a:pPr>
            <a:r>
              <a:rPr lang="en-US" sz="3600" dirty="0">
                <a:solidFill>
                  <a:srgbClr val="002060"/>
                </a:solidFill>
              </a:rPr>
              <a:t>U.S. Debarment - Discretionary</a:t>
            </a:r>
          </a:p>
        </p:txBody>
      </p:sp>
      <p:graphicFrame>
        <p:nvGraphicFramePr>
          <p:cNvPr id="3" name="Diagram 2"/>
          <p:cNvGraphicFramePr/>
          <p:nvPr>
            <p:extLst>
              <p:ext uri="{D42A27DB-BD31-4B8C-83A1-F6EECF244321}">
                <p14:modId xmlns:p14="http://schemas.microsoft.com/office/powerpoint/2010/main" val="3561389360"/>
              </p:ext>
            </p:extLst>
          </p:nvPr>
        </p:nvGraphicFramePr>
        <p:xfrm>
          <a:off x="3281494" y="1747608"/>
          <a:ext cx="5710106" cy="31244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88070" name="Straight Arrow Connector 4"/>
          <p:cNvCxnSpPr>
            <a:cxnSpLocks noChangeShapeType="1"/>
          </p:cNvCxnSpPr>
          <p:nvPr/>
        </p:nvCxnSpPr>
        <p:spPr bwMode="auto">
          <a:xfrm flipH="1">
            <a:off x="2819400" y="3429000"/>
            <a:ext cx="12192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cxnSp>
        <p:nvCxnSpPr>
          <p:cNvPr id="88071" name="Straight Arrow Connector 5"/>
          <p:cNvCxnSpPr>
            <a:cxnSpLocks noChangeShapeType="1"/>
          </p:cNvCxnSpPr>
          <p:nvPr/>
        </p:nvCxnSpPr>
        <p:spPr bwMode="auto">
          <a:xfrm>
            <a:off x="8077200" y="3352800"/>
            <a:ext cx="914400" cy="381000"/>
          </a:xfrm>
          <a:prstGeom prst="straightConnector1">
            <a:avLst/>
          </a:prstGeom>
          <a:noFill/>
          <a:ln w="9525" algn="ctr">
            <a:solidFill>
              <a:schemeClr val="tx1"/>
            </a:solidFill>
            <a:round/>
            <a:headEnd/>
            <a:tailEnd type="arrow" w="med" len="med"/>
          </a:ln>
          <a:extLst>
            <a:ext uri="{909E8E84-426E-40DD-AFC4-6F175D3DCCD1}">
              <a14:hiddenFill xmlns:a14="http://schemas.microsoft.com/office/drawing/2010/main">
                <a:noFill/>
              </a14:hiddenFill>
            </a:ext>
          </a:extLst>
        </p:spPr>
      </p:cxnSp>
      <p:sp>
        <p:nvSpPr>
          <p:cNvPr id="88072" name="Rounded Rectangle 6"/>
          <p:cNvSpPr>
            <a:spLocks noChangeArrowheads="1"/>
          </p:cNvSpPr>
          <p:nvPr/>
        </p:nvSpPr>
        <p:spPr bwMode="auto">
          <a:xfrm>
            <a:off x="1828800" y="3886200"/>
            <a:ext cx="1676400" cy="685800"/>
          </a:xfrm>
          <a:prstGeom prst="roundRect">
            <a:avLst>
              <a:gd name="adj" fmla="val 16667"/>
            </a:avLst>
          </a:prstGeom>
          <a:solidFill>
            <a:srgbClr val="FF0000"/>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a:solidFill>
                  <a:srgbClr val="FFFFFF"/>
                </a:solidFill>
              </a:rPr>
              <a:t>Criminal or Civil Fraud</a:t>
            </a:r>
          </a:p>
        </p:txBody>
      </p:sp>
      <p:sp>
        <p:nvSpPr>
          <p:cNvPr id="8" name="Rounded Rectangle 7"/>
          <p:cNvSpPr/>
          <p:nvPr/>
        </p:nvSpPr>
        <p:spPr bwMode="auto">
          <a:xfrm>
            <a:off x="8610600" y="3810000"/>
            <a:ext cx="1676400" cy="990600"/>
          </a:xfrm>
          <a:prstGeom prst="roundRect">
            <a:avLst/>
          </a:prstGeom>
          <a:solidFill>
            <a:schemeClr val="accent6">
              <a:lumMod val="50000"/>
            </a:schemeClr>
          </a:solidFill>
          <a:ln w="9525" cap="flat" cmpd="sng" algn="ctr">
            <a:solidFill>
              <a:schemeClr val="tx1"/>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dirty="0">
                <a:solidFill>
                  <a:schemeClr val="accent1"/>
                </a:solidFill>
              </a:rPr>
              <a:t>Adverse Past Performance Reports</a:t>
            </a:r>
          </a:p>
        </p:txBody>
      </p:sp>
      <p:sp>
        <p:nvSpPr>
          <p:cNvPr id="88074" name="Rounded Rectangle 12"/>
          <p:cNvSpPr>
            <a:spLocks noChangeArrowheads="1"/>
          </p:cNvSpPr>
          <p:nvPr/>
        </p:nvSpPr>
        <p:spPr bwMode="auto">
          <a:xfrm>
            <a:off x="4495800" y="5410200"/>
            <a:ext cx="3276600" cy="381000"/>
          </a:xfrm>
          <a:prstGeom prst="roundRect">
            <a:avLst>
              <a:gd name="adj" fmla="val 16667"/>
            </a:avLst>
          </a:prstGeom>
          <a:solidFill>
            <a:schemeClr val="accent6"/>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b="1" dirty="0">
                <a:solidFill>
                  <a:srgbClr val="FFFFFF"/>
                </a:solidFill>
              </a:rPr>
              <a:t>Suspension or Debarment</a:t>
            </a:r>
          </a:p>
        </p:txBody>
      </p:sp>
      <p:sp>
        <p:nvSpPr>
          <p:cNvPr id="88075" name="Down Arrow 11"/>
          <p:cNvSpPr>
            <a:spLocks noChangeArrowheads="1"/>
          </p:cNvSpPr>
          <p:nvPr/>
        </p:nvSpPr>
        <p:spPr bwMode="auto">
          <a:xfrm>
            <a:off x="5867400" y="5791200"/>
            <a:ext cx="533400" cy="457200"/>
          </a:xfrm>
          <a:prstGeom prst="downArrow">
            <a:avLst>
              <a:gd name="adj1" fmla="val 50000"/>
              <a:gd name="adj2" fmla="val 50000"/>
            </a:avLst>
          </a:prstGeom>
          <a:solidFill>
            <a:schemeClr val="accent1"/>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endParaRPr lang="en-US" altLang="en-US">
              <a:solidFill>
                <a:srgbClr val="FFFFFF"/>
              </a:solidFill>
            </a:endParaRPr>
          </a:p>
        </p:txBody>
      </p:sp>
      <p:sp>
        <p:nvSpPr>
          <p:cNvPr id="88076" name="TextBox 15"/>
          <p:cNvSpPr txBox="1">
            <a:spLocks noChangeArrowheads="1"/>
          </p:cNvSpPr>
          <p:nvPr/>
        </p:nvSpPr>
        <p:spPr bwMode="auto">
          <a:xfrm>
            <a:off x="1028700" y="5185569"/>
            <a:ext cx="2667000" cy="83026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r>
              <a:rPr lang="en-US" altLang="en-US" sz="1600" b="1" dirty="0">
                <a:solidFill>
                  <a:srgbClr val="003399"/>
                </a:solidFill>
              </a:rPr>
              <a:t>Other problems:</a:t>
            </a:r>
          </a:p>
          <a:p>
            <a:pPr eaLnBrk="0" fontAlgn="base" hangingPunct="0">
              <a:spcBef>
                <a:spcPct val="0"/>
              </a:spcBef>
              <a:spcAft>
                <a:spcPct val="0"/>
              </a:spcAft>
              <a:buFont typeface="Arial" pitchFamily="34" charset="0"/>
              <a:buChar char="•"/>
            </a:pPr>
            <a:r>
              <a:rPr lang="en-US" altLang="en-US" sz="1600" b="1" dirty="0">
                <a:solidFill>
                  <a:srgbClr val="003399"/>
                </a:solidFill>
              </a:rPr>
              <a:t>  No uniform procedures</a:t>
            </a:r>
          </a:p>
          <a:p>
            <a:pPr eaLnBrk="0" fontAlgn="base" hangingPunct="0">
              <a:spcBef>
                <a:spcPct val="0"/>
              </a:spcBef>
              <a:spcAft>
                <a:spcPct val="0"/>
              </a:spcAft>
              <a:buFont typeface="Arial" pitchFamily="34" charset="0"/>
              <a:buChar char="•"/>
            </a:pPr>
            <a:r>
              <a:rPr lang="en-US" altLang="en-US" sz="1600" b="1" dirty="0">
                <a:solidFill>
                  <a:srgbClr val="003399"/>
                </a:solidFill>
              </a:rPr>
              <a:t>  Huge disparity in actions</a:t>
            </a:r>
          </a:p>
        </p:txBody>
      </p:sp>
      <p:sp>
        <p:nvSpPr>
          <p:cNvPr id="88077" name="Rounded Rectangle 17"/>
          <p:cNvSpPr>
            <a:spLocks noChangeArrowheads="1"/>
          </p:cNvSpPr>
          <p:nvPr/>
        </p:nvSpPr>
        <p:spPr bwMode="auto">
          <a:xfrm>
            <a:off x="8458200" y="5410200"/>
            <a:ext cx="1828800" cy="1066800"/>
          </a:xfrm>
          <a:prstGeom prst="roundRect">
            <a:avLst>
              <a:gd name="adj" fmla="val 16667"/>
            </a:avLst>
          </a:prstGeom>
          <a:solidFill>
            <a:schemeClr val="accent1">
              <a:lumMod val="10000"/>
            </a:schemeClr>
          </a:solidFill>
          <a:ln w="9525" algn="ctr">
            <a:solidFill>
              <a:schemeClr val="tx1"/>
            </a:solidFill>
            <a:round/>
            <a:headEnd/>
            <a:tailEnd/>
          </a:ln>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eaLnBrk="0" fontAlgn="base" hangingPunct="0">
              <a:spcBef>
                <a:spcPct val="0"/>
              </a:spcBef>
              <a:spcAft>
                <a:spcPct val="0"/>
              </a:spcAft>
            </a:pPr>
            <a:r>
              <a:rPr lang="en-US" altLang="en-US" b="1" dirty="0">
                <a:solidFill>
                  <a:srgbClr val="FFFFFF"/>
                </a:solidFill>
              </a:rPr>
              <a:t>Administrative Agreement / Compliance</a:t>
            </a:r>
          </a:p>
        </p:txBody>
      </p:sp>
      <p:pic>
        <p:nvPicPr>
          <p:cNvPr id="88078" name="Picture 4" descr="C:\Users\cry3860\AppData\Local\Microsoft\Windows\Temporary Internet Files\Content.IE5\QOJH11DE\MC900297475[1].wmf"/>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638800" y="5862638"/>
            <a:ext cx="876300" cy="99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615658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2133600" y="3551238"/>
            <a:ext cx="8229600" cy="1554162"/>
          </a:xfrm>
          <a:prstGeom prst="rect">
            <a:avLst/>
          </a:prstGeom>
          <a:ln w="1270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a:solidFill>
                <a:prstClr val="white"/>
              </a:solidFill>
              <a:latin typeface="Franklin Gothic Book"/>
            </a:endParaRPr>
          </a:p>
        </p:txBody>
      </p:sp>
      <p:sp>
        <p:nvSpPr>
          <p:cNvPr id="89092" name="Slide Number Placeholder 12"/>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a:fld id="{45BF5B3B-2478-463A-B012-03D279215ABA}" type="slidenum">
              <a:rPr lang="en-US" altLang="en-US" b="1" i="1" smtClean="0">
                <a:solidFill>
                  <a:srgbClr val="FFFFFF"/>
                </a:solidFill>
                <a:latin typeface="Arial" pitchFamily="34" charset="0"/>
                <a:ea typeface="Verdana" pitchFamily="34" charset="0"/>
                <a:cs typeface="Verdana" pitchFamily="34" charset="0"/>
              </a:rPr>
              <a:pPr algn="ctr"/>
              <a:t>25</a:t>
            </a:fld>
            <a:endParaRPr lang="en-US" altLang="en-US" b="1" i="1" dirty="0">
              <a:solidFill>
                <a:srgbClr val="FFFFFF"/>
              </a:solidFill>
              <a:latin typeface="Arial" pitchFamily="34" charset="0"/>
              <a:ea typeface="Verdana" pitchFamily="34" charset="0"/>
              <a:cs typeface="Verdana" pitchFamily="34" charset="0"/>
            </a:endParaRPr>
          </a:p>
        </p:txBody>
      </p:sp>
      <p:sp>
        <p:nvSpPr>
          <p:cNvPr id="19459" name="Rectangle 2"/>
          <p:cNvSpPr>
            <a:spLocks noGrp="1" noChangeArrowheads="1"/>
          </p:cNvSpPr>
          <p:nvPr>
            <p:ph type="title" idx="4294967295"/>
          </p:nvPr>
        </p:nvSpPr>
        <p:spPr>
          <a:xfrm rot="16200000">
            <a:off x="-3337976" y="3318667"/>
            <a:ext cx="8229600" cy="990600"/>
          </a:xfrm>
        </p:spPr>
        <p:txBody>
          <a:bodyPr/>
          <a:lstStyle/>
          <a:p>
            <a:pPr>
              <a:defRPr/>
            </a:pPr>
            <a:r>
              <a:rPr lang="en-US" sz="2800" b="1" dirty="0"/>
              <a:t>World Bank Sanctions System</a:t>
            </a:r>
          </a:p>
        </p:txBody>
      </p:sp>
      <p:sp>
        <p:nvSpPr>
          <p:cNvPr id="89093" name="Text Box 9"/>
          <p:cNvSpPr txBox="1">
            <a:spLocks noChangeArrowheads="1"/>
          </p:cNvSpPr>
          <p:nvPr/>
        </p:nvSpPr>
        <p:spPr bwMode="auto">
          <a:xfrm>
            <a:off x="5410200" y="5410206"/>
            <a:ext cx="4343400" cy="1246495"/>
          </a:xfrm>
          <a:prstGeom prst="rect">
            <a:avLst/>
          </a:prstGeom>
          <a:solidFill>
            <a:schemeClr val="bg1"/>
          </a:solidFill>
          <a:ln>
            <a:noFill/>
          </a:ln>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Investigates allegations of fraud, corruption, collusion, coercion and obstruction</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Prepares and submits a Statement of Accusations and Evidence (SAE) to the Office of Suspension and Debarmen</a:t>
            </a:r>
            <a:r>
              <a:rPr lang="en-US" altLang="en-US" sz="1500" dirty="0">
                <a:solidFill>
                  <a:srgbClr val="FFFFFF"/>
                </a:solidFill>
                <a:latin typeface="Franklin Gothic Book"/>
                <a:cs typeface="Arial" pitchFamily="34" charset="0"/>
              </a:rPr>
              <a:t>t</a:t>
            </a:r>
          </a:p>
        </p:txBody>
      </p:sp>
      <p:sp>
        <p:nvSpPr>
          <p:cNvPr id="89094" name="Text Box 12"/>
          <p:cNvSpPr txBox="1">
            <a:spLocks noChangeArrowheads="1"/>
          </p:cNvSpPr>
          <p:nvPr/>
        </p:nvSpPr>
        <p:spPr bwMode="auto">
          <a:xfrm>
            <a:off x="5791200" y="3579654"/>
            <a:ext cx="48768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latin typeface="Franklin Gothic Book"/>
                <a:cs typeface="Arial" pitchFamily="34" charset="0"/>
              </a:rPr>
              <a:t> Evaluates evidence presented by I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Issues Notice of Sanctions Proceedings to responde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Temporarily suspends respondent</a:t>
            </a:r>
          </a:p>
          <a:p>
            <a:pPr fontAlgn="base">
              <a:spcBef>
                <a:spcPct val="0"/>
              </a:spcBef>
              <a:spcAft>
                <a:spcPct val="0"/>
              </a:spcAft>
              <a:buFont typeface="Wingdings" pitchFamily="2" charset="2"/>
              <a:buChar char="§"/>
            </a:pPr>
            <a:r>
              <a:rPr lang="en-US" altLang="en-US" sz="1500" dirty="0">
                <a:latin typeface="Franklin Gothic Book"/>
                <a:cs typeface="Arial" pitchFamily="34" charset="0"/>
              </a:rPr>
              <a:t> Recommends a sanction (becomes effective if respondent does not contest)</a:t>
            </a:r>
          </a:p>
          <a:p>
            <a:pPr fontAlgn="base">
              <a:spcBef>
                <a:spcPct val="0"/>
              </a:spcBef>
              <a:spcAft>
                <a:spcPct val="0"/>
              </a:spcAft>
              <a:buFont typeface="Wingdings" pitchFamily="2" charset="2"/>
              <a:buChar char="§"/>
            </a:pPr>
            <a:r>
              <a:rPr lang="en-US" altLang="en-US" sz="1500" b="1" dirty="0">
                <a:latin typeface="Franklin Gothic Book"/>
                <a:cs typeface="Arial" pitchFamily="34" charset="0"/>
              </a:rPr>
              <a:t> 61% of cases resolved at this level</a:t>
            </a:r>
          </a:p>
        </p:txBody>
      </p:sp>
      <p:sp>
        <p:nvSpPr>
          <p:cNvPr id="89095" name="Rectangle 16"/>
          <p:cNvSpPr>
            <a:spLocks noChangeArrowheads="1"/>
          </p:cNvSpPr>
          <p:nvPr/>
        </p:nvSpPr>
        <p:spPr bwMode="auto">
          <a:xfrm>
            <a:off x="5715000" y="1918874"/>
            <a:ext cx="4953000" cy="1708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Comprised of 4 external members and 3 Bank staff </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Reviews case ‘de novo’</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May hold a hearing with parties and witnesses</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Imposes sanctions (not bound by SDO’s recommendation)</a:t>
            </a:r>
          </a:p>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Decisions are final and not appealable</a:t>
            </a:r>
          </a:p>
          <a:p>
            <a:pPr fontAlgn="base">
              <a:spcBef>
                <a:spcPct val="0"/>
              </a:spcBef>
              <a:spcAft>
                <a:spcPct val="0"/>
              </a:spcAft>
              <a:buFont typeface="Wingdings" pitchFamily="2" charset="2"/>
              <a:buChar char="§"/>
            </a:pPr>
            <a:r>
              <a:rPr lang="en-US" altLang="en-US" sz="1500" b="1" dirty="0">
                <a:solidFill>
                  <a:srgbClr val="002060"/>
                </a:solidFill>
                <a:latin typeface="Franklin Gothic Book"/>
                <a:cs typeface="Arial" pitchFamily="34" charset="0"/>
              </a:rPr>
              <a:t> 39% of cases resolved at this level</a:t>
            </a:r>
          </a:p>
        </p:txBody>
      </p:sp>
      <p:graphicFrame>
        <p:nvGraphicFramePr>
          <p:cNvPr id="18" name="Diagram 17"/>
          <p:cNvGraphicFramePr/>
          <p:nvPr/>
        </p:nvGraphicFramePr>
        <p:xfrm>
          <a:off x="914400" y="762000"/>
          <a:ext cx="6324600" cy="4267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9097" name="Group 7"/>
          <p:cNvGrpSpPr>
            <a:grpSpLocks/>
          </p:cNvGrpSpPr>
          <p:nvPr/>
        </p:nvGrpSpPr>
        <p:grpSpPr bwMode="auto">
          <a:xfrm>
            <a:off x="2438400" y="5486400"/>
            <a:ext cx="2057400" cy="914400"/>
            <a:chOff x="2328612" y="3499989"/>
            <a:chExt cx="2630826" cy="1006334"/>
          </a:xfrm>
        </p:grpSpPr>
        <p:sp>
          <p:nvSpPr>
            <p:cNvPr id="9" name="Rounded Rectangle 8"/>
            <p:cNvSpPr/>
            <p:nvPr/>
          </p:nvSpPr>
          <p:spPr>
            <a:xfrm>
              <a:off x="2328612" y="3499989"/>
              <a:ext cx="2630826" cy="1006334"/>
            </a:xfrm>
            <a:prstGeom prst="roundRect">
              <a:avLst/>
            </a:prstGeom>
            <a:ln w="9525"/>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0" name="Rounded Rectangle 4"/>
            <p:cNvSpPr/>
            <p:nvPr/>
          </p:nvSpPr>
          <p:spPr>
            <a:xfrm>
              <a:off x="2377331" y="3597827"/>
              <a:ext cx="2533388" cy="908496"/>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tIns="91440" bIns="91440" spcCol="1270" anchor="ctr"/>
            <a:lstStyle/>
            <a:p>
              <a:pPr algn="ctr" defTabSz="1066800" fontAlgn="base">
                <a:lnSpc>
                  <a:spcPct val="90000"/>
                </a:lnSpc>
                <a:spcBef>
                  <a:spcPct val="0"/>
                </a:spcBef>
                <a:spcAft>
                  <a:spcPct val="35000"/>
                </a:spcAft>
                <a:defRPr/>
              </a:pPr>
              <a:r>
                <a:rPr lang="en-US" sz="2000" b="1" dirty="0">
                  <a:solidFill>
                    <a:prstClr val="black">
                      <a:hueOff val="0"/>
                      <a:satOff val="0"/>
                      <a:lumOff val="0"/>
                      <a:alphaOff val="0"/>
                    </a:prstClr>
                  </a:solidFill>
                  <a:latin typeface="Franklin Gothic Book"/>
                </a:rPr>
                <a:t>Integrity Vice Presidency</a:t>
              </a:r>
            </a:p>
          </p:txBody>
        </p:sp>
      </p:grpSp>
      <p:cxnSp>
        <p:nvCxnSpPr>
          <p:cNvPr id="12" name="Straight Connector 11"/>
          <p:cNvCxnSpPr/>
          <p:nvPr/>
        </p:nvCxnSpPr>
        <p:spPr>
          <a:xfrm>
            <a:off x="2097088" y="5256220"/>
            <a:ext cx="8266112" cy="1587"/>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89099" name="TextBox 13"/>
          <p:cNvSpPr txBox="1">
            <a:spLocks noChangeArrowheads="1"/>
          </p:cNvSpPr>
          <p:nvPr/>
        </p:nvSpPr>
        <p:spPr bwMode="auto">
          <a:xfrm rot="-5400000">
            <a:off x="680244" y="3221319"/>
            <a:ext cx="223996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Adjudicative</a:t>
            </a:r>
          </a:p>
        </p:txBody>
      </p:sp>
      <p:sp>
        <p:nvSpPr>
          <p:cNvPr id="89100" name="TextBox 14"/>
          <p:cNvSpPr txBox="1">
            <a:spLocks noChangeArrowheads="1"/>
          </p:cNvSpPr>
          <p:nvPr/>
        </p:nvSpPr>
        <p:spPr bwMode="auto">
          <a:xfrm rot="-5400000">
            <a:off x="838804" y="5720837"/>
            <a:ext cx="1905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Investigative</a:t>
            </a:r>
          </a:p>
        </p:txBody>
      </p:sp>
      <p:cxnSp>
        <p:nvCxnSpPr>
          <p:cNvPr id="16" name="Straight Connector 15"/>
          <p:cNvCxnSpPr/>
          <p:nvPr/>
        </p:nvCxnSpPr>
        <p:spPr>
          <a:xfrm>
            <a:off x="2117035" y="1878014"/>
            <a:ext cx="8223250" cy="1588"/>
          </a:xfrm>
          <a:prstGeom prst="line">
            <a:avLst/>
          </a:prstGeom>
          <a:ln w="127000"/>
        </p:spPr>
        <p:style>
          <a:lnRef idx="1">
            <a:schemeClr val="accent1"/>
          </a:lnRef>
          <a:fillRef idx="0">
            <a:schemeClr val="accent1"/>
          </a:fillRef>
          <a:effectRef idx="0">
            <a:schemeClr val="accent1"/>
          </a:effectRef>
          <a:fontRef idx="minor">
            <a:schemeClr val="tx1"/>
          </a:fontRef>
        </p:style>
      </p:cxnSp>
      <p:sp>
        <p:nvSpPr>
          <p:cNvPr id="89102" name="TextBox 16"/>
          <p:cNvSpPr txBox="1">
            <a:spLocks noChangeArrowheads="1"/>
          </p:cNvSpPr>
          <p:nvPr/>
        </p:nvSpPr>
        <p:spPr bwMode="auto">
          <a:xfrm rot="-5400000">
            <a:off x="862013" y="1072634"/>
            <a:ext cx="1905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lgn="ctr" fontAlgn="base">
              <a:spcBef>
                <a:spcPct val="0"/>
              </a:spcBef>
              <a:spcAft>
                <a:spcPct val="0"/>
              </a:spcAft>
            </a:pPr>
            <a:r>
              <a:rPr lang="en-US" altLang="en-US" b="1" dirty="0">
                <a:solidFill>
                  <a:srgbClr val="002060"/>
                </a:solidFill>
                <a:latin typeface="Franklin Gothic Book"/>
                <a:cs typeface="Arial" pitchFamily="34" charset="0"/>
              </a:rPr>
              <a:t>Complianc</a:t>
            </a:r>
            <a:r>
              <a:rPr lang="en-US" altLang="en-US" b="1" dirty="0">
                <a:solidFill>
                  <a:srgbClr val="FFFF00"/>
                </a:solidFill>
                <a:latin typeface="Franklin Gothic Book"/>
                <a:cs typeface="Arial" pitchFamily="34" charset="0"/>
              </a:rPr>
              <a:t>e</a:t>
            </a:r>
          </a:p>
        </p:txBody>
      </p:sp>
      <p:sp>
        <p:nvSpPr>
          <p:cNvPr id="89103" name="Text Box 9"/>
          <p:cNvSpPr txBox="1">
            <a:spLocks noChangeArrowheads="1"/>
          </p:cNvSpPr>
          <p:nvPr/>
        </p:nvSpPr>
        <p:spPr bwMode="auto">
          <a:xfrm>
            <a:off x="5791200" y="633416"/>
            <a:ext cx="4343400" cy="11849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fontAlgn="base">
              <a:spcBef>
                <a:spcPct val="0"/>
              </a:spcBef>
              <a:spcAft>
                <a:spcPct val="0"/>
              </a:spcAft>
              <a:buFont typeface="Wingdings" pitchFamily="2" charset="2"/>
              <a:buChar char="§"/>
            </a:pPr>
            <a:r>
              <a:rPr lang="en-US" altLang="en-US" sz="1500" dirty="0">
                <a:solidFill>
                  <a:srgbClr val="002060"/>
                </a:solidFill>
                <a:latin typeface="Franklin Gothic Book"/>
                <a:cs typeface="Arial" pitchFamily="34" charset="0"/>
              </a:rPr>
              <a:t> </a:t>
            </a:r>
            <a:r>
              <a:rPr lang="en-US" altLang="en-US" sz="1400" dirty="0">
                <a:solidFill>
                  <a:srgbClr val="002060"/>
                </a:solidFill>
                <a:latin typeface="Franklin Gothic Book"/>
                <a:cs typeface="Arial" pitchFamily="34" charset="0"/>
              </a:rPr>
              <a:t>Monitors integrity compliance by sanctioned companies (or codes of conduct for individuals)</a:t>
            </a:r>
          </a:p>
          <a:p>
            <a:pPr fontAlgn="base">
              <a:spcBef>
                <a:spcPct val="0"/>
              </a:spcBef>
              <a:spcAft>
                <a:spcPct val="0"/>
              </a:spcAft>
              <a:buFont typeface="Wingdings" pitchFamily="2" charset="2"/>
              <a:buChar char="§"/>
            </a:pPr>
            <a:r>
              <a:rPr lang="en-US" altLang="en-US" sz="1400" dirty="0">
                <a:solidFill>
                  <a:srgbClr val="002060"/>
                </a:solidFill>
                <a:latin typeface="Franklin Gothic Book"/>
                <a:cs typeface="Arial" pitchFamily="34" charset="0"/>
              </a:rPr>
              <a:t> Decides whether the compliance condition established by the SDO or Sanctions Board as part of a debarment has been satisfied.</a:t>
            </a:r>
          </a:p>
        </p:txBody>
      </p:sp>
      <p:pic>
        <p:nvPicPr>
          <p:cNvPr id="89104" name="Picture 7" descr="http://acumen.org/wp-content/uploads/2008/09/world-bank-logo.jp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340285" y="5961476"/>
            <a:ext cx="762000" cy="776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937254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p:cNvGraphicFramePr>
            <a:graphicFrameLocks noChangeAspect="1"/>
          </p:cNvGraphicFramePr>
          <p:nvPr>
            <p:custDataLst>
              <p:tags r:id="rId2"/>
            </p:custDataLst>
          </p:nvPr>
        </p:nvGraphicFramePr>
        <p:xfrm>
          <a:off x="1525590" y="1594"/>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5" imgW="360" imgH="360" progId="">
                  <p:embed/>
                </p:oleObj>
              </mc:Choice>
              <mc:Fallback>
                <p:oleObj name="think-cell Slide" r:id="rId5" imgW="360" imgH="360" progId="">
                  <p:embed/>
                  <p:pic>
                    <p:nvPicPr>
                      <p:cNvPr id="5122" name="Object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590"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Subtitle 1"/>
          <p:cNvSpPr>
            <a:spLocks noGrp="1"/>
          </p:cNvSpPr>
          <p:nvPr>
            <p:ph type="subTitle" idx="1"/>
          </p:nvPr>
        </p:nvSpPr>
        <p:spPr>
          <a:xfrm>
            <a:off x="1774825" y="476254"/>
            <a:ext cx="7416800" cy="360363"/>
          </a:xfrm>
        </p:spPr>
        <p:txBody>
          <a:bodyPr/>
          <a:lstStyle/>
          <a:p>
            <a:pPr>
              <a:defRPr/>
            </a:pPr>
            <a:r>
              <a:rPr lang="en-GB" sz="2400" dirty="0"/>
              <a:t>Comparing Debarment Approaches</a:t>
            </a:r>
          </a:p>
        </p:txBody>
      </p:sp>
      <p:sp>
        <p:nvSpPr>
          <p:cNvPr id="3" name="Text Placeholder 2"/>
          <p:cNvSpPr>
            <a:spLocks noGrp="1"/>
          </p:cNvSpPr>
          <p:nvPr>
            <p:ph type="body" sz="quarter" idx="10"/>
          </p:nvPr>
        </p:nvSpPr>
        <p:spPr>
          <a:xfrm>
            <a:off x="1774827" y="1557345"/>
            <a:ext cx="8353425" cy="4535487"/>
          </a:xfrm>
        </p:spPr>
        <p:txBody>
          <a:bodyPr>
            <a:noAutofit/>
          </a:bodyPr>
          <a:lstStyle/>
          <a:p>
            <a:pPr marL="847725" lvl="2" indent="-447675">
              <a:defRPr/>
            </a:pPr>
            <a:endParaRPr lang="en-US" sz="1800" dirty="0"/>
          </a:p>
          <a:p>
            <a:pPr marL="1762125" lvl="4" indent="-447675">
              <a:defRPr/>
            </a:pPr>
            <a:endParaRPr lang="en-US" sz="1600" dirty="0"/>
          </a:p>
          <a:p>
            <a:pPr marL="1304925" lvl="3" indent="-447675">
              <a:defRPr/>
            </a:pPr>
            <a:endParaRPr lang="en-US" sz="1600" dirty="0"/>
          </a:p>
          <a:p>
            <a:pPr marL="1304925" lvl="3" indent="-447675">
              <a:defRPr/>
            </a:pPr>
            <a:endParaRPr lang="en-US" sz="1600" dirty="0"/>
          </a:p>
          <a:p>
            <a:pPr marL="847725" lvl="2" indent="-447675">
              <a:defRPr/>
            </a:pPr>
            <a:endParaRPr lang="en-US" sz="1600" dirty="0"/>
          </a:p>
          <a:p>
            <a:pPr marL="342900" lvl="2" indent="-342900">
              <a:defRPr/>
            </a:pPr>
            <a:endParaRPr lang="en-US" sz="1800" dirty="0"/>
          </a:p>
          <a:p>
            <a:pPr marL="342900" lvl="2" indent="-342900">
              <a:defRPr/>
            </a:pPr>
            <a:endParaRPr lang="en-US" sz="1800" dirty="0"/>
          </a:p>
          <a:p>
            <a:pPr marL="342900" lvl="2" indent="-342900">
              <a:defRPr/>
            </a:pPr>
            <a:endParaRPr lang="en-US" sz="1800" dirty="0"/>
          </a:p>
          <a:p>
            <a:pPr marL="847725" lvl="2" indent="-447675">
              <a:defRPr/>
            </a:pPr>
            <a:endParaRPr lang="en-US" sz="1800" dirty="0"/>
          </a:p>
        </p:txBody>
      </p:sp>
      <p:graphicFrame>
        <p:nvGraphicFramePr>
          <p:cNvPr id="6" name="Diagramm 5"/>
          <p:cNvGraphicFramePr/>
          <p:nvPr/>
        </p:nvGraphicFramePr>
        <p:xfrm>
          <a:off x="1991544" y="1124744"/>
          <a:ext cx="7368480" cy="440826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3" name="Oval 3"/>
          <p:cNvSpPr/>
          <p:nvPr/>
        </p:nvSpPr>
        <p:spPr bwMode="auto">
          <a:xfrm>
            <a:off x="1739901" y="5589588"/>
            <a:ext cx="2641600" cy="990600"/>
          </a:xfrm>
          <a:prstGeom prst="ellipse">
            <a:avLst/>
          </a:prstGeom>
          <a:solidFill>
            <a:srgbClr val="0070C0"/>
          </a:solidFill>
          <a:ln w="9525" cap="flat" cmpd="sng" algn="ctr">
            <a:solidFill>
              <a:schemeClr val="tx2">
                <a:lumMod val="40000"/>
                <a:lumOff val="60000"/>
              </a:schemeClr>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sz="2000" b="1" dirty="0">
                <a:solidFill>
                  <a:schemeClr val="bg1"/>
                </a:solidFill>
                <a:latin typeface="Arial" charset="0"/>
              </a:rPr>
              <a:t>Performance Risk</a:t>
            </a:r>
          </a:p>
        </p:txBody>
      </p:sp>
      <p:sp>
        <p:nvSpPr>
          <p:cNvPr id="15" name="Oval 3"/>
          <p:cNvSpPr/>
          <p:nvPr/>
        </p:nvSpPr>
        <p:spPr bwMode="auto">
          <a:xfrm>
            <a:off x="7319964" y="5445125"/>
            <a:ext cx="2641600" cy="990600"/>
          </a:xfrm>
          <a:prstGeom prst="ellipse">
            <a:avLst/>
          </a:prstGeom>
          <a:solidFill>
            <a:schemeClr val="tx2"/>
          </a:solidFill>
          <a:ln w="9525" cap="flat" cmpd="sng" algn="ctr">
            <a:solidFill>
              <a:schemeClr val="tx2">
                <a:lumMod val="40000"/>
                <a:lumOff val="60000"/>
              </a:schemeClr>
            </a:solidFill>
            <a:prstDash val="solid"/>
            <a:round/>
            <a:headEnd type="none" w="med" len="med"/>
            <a:tailEnd type="none" w="med" len="med"/>
          </a:ln>
          <a:effectLst/>
        </p:spPr>
        <p:txBody>
          <a:bodyPr/>
          <a:lstStyle/>
          <a:p>
            <a:pPr algn="ctr" eaLnBrk="0" fontAlgn="base" hangingPunct="0">
              <a:spcBef>
                <a:spcPct val="0"/>
              </a:spcBef>
              <a:spcAft>
                <a:spcPct val="0"/>
              </a:spcAft>
              <a:defRPr/>
            </a:pPr>
            <a:r>
              <a:rPr lang="en-US" sz="2000" b="1" dirty="0">
                <a:solidFill>
                  <a:schemeClr val="bg1"/>
                </a:solidFill>
                <a:latin typeface="Arial" charset="0"/>
              </a:rPr>
              <a:t>Reputation Risk</a:t>
            </a:r>
          </a:p>
        </p:txBody>
      </p:sp>
    </p:spTree>
    <p:extLst>
      <p:ext uri="{BB962C8B-B14F-4D97-AF65-F5344CB8AC3E}">
        <p14:creationId xmlns:p14="http://schemas.microsoft.com/office/powerpoint/2010/main" val="3308138969"/>
      </p:ext>
    </p:extLst>
  </p:cSld>
  <p:clrMapOvr>
    <a:masterClrMapping/>
  </p:clrMapOvr>
  <p:transition>
    <p:random/>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hillside next to a body of water&#10;&#10;Description automatically generated">
            <a:extLst>
              <a:ext uri="{FF2B5EF4-FFF2-40B4-BE49-F238E27FC236}">
                <a16:creationId xmlns:a16="http://schemas.microsoft.com/office/drawing/2014/main" id="{7A261F92-DDC7-4551-8AB1-8B51DFB123D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684" y="0"/>
            <a:ext cx="9144000" cy="6858000"/>
          </a:xfrm>
          <a:prstGeom prst="rect">
            <a:avLst/>
          </a:prstGeom>
        </p:spPr>
      </p:pic>
      <p:sp>
        <p:nvSpPr>
          <p:cNvPr id="2" name="Title 1"/>
          <p:cNvSpPr>
            <a:spLocks noGrp="1"/>
          </p:cNvSpPr>
          <p:nvPr>
            <p:ph type="title"/>
          </p:nvPr>
        </p:nvSpPr>
        <p:spPr>
          <a:xfrm>
            <a:off x="9433623" y="2199443"/>
            <a:ext cx="2422817" cy="1143000"/>
          </a:xfrm>
        </p:spPr>
        <p:txBody>
          <a:bodyPr>
            <a:noAutofit/>
          </a:bodyPr>
          <a:lstStyle/>
          <a:p>
            <a:pPr algn="r">
              <a:defRPr/>
            </a:pPr>
            <a:r>
              <a:rPr lang="en-US" sz="2800" b="1" dirty="0">
                <a:solidFill>
                  <a:schemeClr val="tx1"/>
                </a:solidFill>
              </a:rPr>
              <a:t>Trinidad &amp; Tobago – </a:t>
            </a:r>
            <a:br>
              <a:rPr lang="en-US" sz="2800" b="1" dirty="0">
                <a:solidFill>
                  <a:schemeClr val="tx1"/>
                </a:solidFill>
              </a:rPr>
            </a:br>
            <a:r>
              <a:rPr lang="en-US" sz="2800" b="1" dirty="0">
                <a:solidFill>
                  <a:schemeClr val="tx1"/>
                </a:solidFill>
              </a:rPr>
              <a:t>Example of Combined Approach</a:t>
            </a:r>
          </a:p>
        </p:txBody>
      </p:sp>
      <p:sp>
        <p:nvSpPr>
          <p:cNvPr id="7171" name="Content Placeholder 2"/>
          <p:cNvSpPr>
            <a:spLocks noGrp="1"/>
          </p:cNvSpPr>
          <p:nvPr>
            <p:ph idx="1"/>
          </p:nvPr>
        </p:nvSpPr>
        <p:spPr>
          <a:xfrm>
            <a:off x="0" y="1"/>
            <a:ext cx="9206683" cy="3573710"/>
          </a:xfrm>
          <a:solidFill>
            <a:srgbClr val="FFFFFF">
              <a:alpha val="27843"/>
            </a:srgbClr>
          </a:solidFill>
        </p:spPr>
        <p:txBody>
          <a:bodyPr/>
          <a:lstStyle/>
          <a:p>
            <a:pPr>
              <a:buFontTx/>
              <a:buNone/>
              <a:defRPr/>
            </a:pPr>
            <a:r>
              <a:rPr lang="en-US" sz="2800" b="1" dirty="0"/>
              <a:t>(3) The Office may add a supplier or contractor to</a:t>
            </a:r>
          </a:p>
          <a:p>
            <a:pPr>
              <a:buFontTx/>
              <a:buNone/>
              <a:defRPr/>
            </a:pPr>
            <a:r>
              <a:rPr lang="en-US" sz="2800" b="1" dirty="0"/>
              <a:t>the ineligibility list where the supplier or contractor—</a:t>
            </a:r>
          </a:p>
          <a:p>
            <a:pPr>
              <a:buFontTx/>
              <a:buNone/>
              <a:defRPr/>
            </a:pPr>
            <a:r>
              <a:rPr lang="en-US" sz="2800" b="1" i="1" dirty="0"/>
              <a:t>(a) consistently fails to provide satisfactory</a:t>
            </a:r>
          </a:p>
          <a:p>
            <a:pPr>
              <a:buFontTx/>
              <a:buNone/>
              <a:defRPr/>
            </a:pPr>
            <a:r>
              <a:rPr lang="en-US" sz="2800" b="1" dirty="0"/>
              <a:t>performance;</a:t>
            </a:r>
          </a:p>
          <a:p>
            <a:pPr>
              <a:buFontTx/>
              <a:buNone/>
              <a:defRPr/>
            </a:pPr>
            <a:r>
              <a:rPr lang="en-US" sz="2800" b="1" i="1" dirty="0"/>
              <a:t>(b) is found to be indulging in corrupt or</a:t>
            </a:r>
          </a:p>
          <a:p>
            <a:pPr>
              <a:buFontTx/>
              <a:buNone/>
              <a:defRPr/>
            </a:pPr>
            <a:r>
              <a:rPr lang="en-US" sz="2800" b="1" dirty="0"/>
              <a:t>fraudulent practices; or</a:t>
            </a:r>
          </a:p>
          <a:p>
            <a:pPr>
              <a:buFontTx/>
              <a:buNone/>
              <a:defRPr/>
            </a:pPr>
            <a:r>
              <a:rPr lang="en-US" sz="2800" b="1" i="1" dirty="0"/>
              <a:t>(c) is convicted of an offence under this Act</a:t>
            </a:r>
            <a:r>
              <a:rPr lang="en-US" sz="2800" i="1" dirty="0"/>
              <a:t>.</a:t>
            </a:r>
          </a:p>
          <a:p>
            <a:pPr>
              <a:defRPr/>
            </a:pPr>
            <a:endParaRPr lang="en-US" sz="2800" dirty="0"/>
          </a:p>
        </p:txBody>
      </p:sp>
      <p:pic>
        <p:nvPicPr>
          <p:cNvPr id="91140" name="Picture 2" descr="http://www.mapsofworld.com/images/world-countries-flags/trinidad-tobago-fla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06633" y="4658557"/>
            <a:ext cx="3138334" cy="2132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5709294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2303492" y="1397004"/>
          <a:ext cx="7450111" cy="48988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extBox 1">
            <a:extLst>
              <a:ext uri="{FF2B5EF4-FFF2-40B4-BE49-F238E27FC236}">
                <a16:creationId xmlns:a16="http://schemas.microsoft.com/office/drawing/2014/main" id="{0EDF4A2D-2463-4A26-964C-A760BBEE04F2}"/>
              </a:ext>
            </a:extLst>
          </p:cNvPr>
          <p:cNvSpPr txBox="1"/>
          <p:nvPr/>
        </p:nvSpPr>
        <p:spPr>
          <a:xfrm>
            <a:off x="318782" y="1258349"/>
            <a:ext cx="3900880" cy="584775"/>
          </a:xfrm>
          <a:prstGeom prst="rect">
            <a:avLst/>
          </a:prstGeom>
          <a:noFill/>
        </p:spPr>
        <p:txBody>
          <a:bodyPr wrap="square" rtlCol="0">
            <a:spAutoFit/>
          </a:bodyPr>
          <a:lstStyle/>
          <a:p>
            <a:r>
              <a:rPr lang="en-US" sz="3200" b="1" dirty="0"/>
              <a:t>Cross-Debarment</a:t>
            </a:r>
          </a:p>
        </p:txBody>
      </p:sp>
    </p:spTree>
    <p:extLst>
      <p:ext uri="{BB962C8B-B14F-4D97-AF65-F5344CB8AC3E}">
        <p14:creationId xmlns:p14="http://schemas.microsoft.com/office/powerpoint/2010/main" val="340466884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1"/>
          </p:nvPr>
        </p:nvSpPr>
        <p:spPr/>
        <p:txBody>
          <a:bodyPr/>
          <a:lstStyle/>
          <a:p>
            <a:fld id="{1D2F8EB9-B1B5-405F-9655-299AC594F075}" type="slidenum">
              <a:rPr lang="en-US" smtClean="0">
                <a:solidFill>
                  <a:srgbClr val="376092">
                    <a:tint val="75000"/>
                  </a:srgbClr>
                </a:solidFill>
              </a:rPr>
              <a:pPr/>
              <a:t>29</a:t>
            </a:fld>
            <a:endParaRPr lang="en-US">
              <a:solidFill>
                <a:srgbClr val="376092">
                  <a:tint val="75000"/>
                </a:srgbClr>
              </a:solidFill>
            </a:endParaRPr>
          </a:p>
        </p:txBody>
      </p:sp>
      <p:graphicFrame>
        <p:nvGraphicFramePr>
          <p:cNvPr id="3" name="Diagram 2"/>
          <p:cNvGraphicFramePr/>
          <p:nvPr>
            <p:extLst>
              <p:ext uri="{D42A27DB-BD31-4B8C-83A1-F6EECF244321}">
                <p14:modId xmlns:p14="http://schemas.microsoft.com/office/powerpoint/2010/main" val="901889212"/>
              </p:ext>
            </p:extLst>
          </p:nvPr>
        </p:nvGraphicFramePr>
        <p:xfrm>
          <a:off x="1835064" y="1192167"/>
          <a:ext cx="8678091" cy="529118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a:extLst>
              <a:ext uri="{FF2B5EF4-FFF2-40B4-BE49-F238E27FC236}">
                <a16:creationId xmlns:a16="http://schemas.microsoft.com/office/drawing/2014/main" id="{5DCBDF9F-B738-43E9-9D69-0262353A0EDD}"/>
              </a:ext>
            </a:extLst>
          </p:cNvPr>
          <p:cNvSpPr txBox="1"/>
          <p:nvPr/>
        </p:nvSpPr>
        <p:spPr>
          <a:xfrm rot="16200000">
            <a:off x="-1479297" y="3242016"/>
            <a:ext cx="4561364" cy="461665"/>
          </a:xfrm>
          <a:prstGeom prst="rect">
            <a:avLst/>
          </a:prstGeom>
          <a:noFill/>
        </p:spPr>
        <p:txBody>
          <a:bodyPr wrap="square" rtlCol="0">
            <a:spAutoFit/>
          </a:bodyPr>
          <a:lstStyle/>
          <a:p>
            <a:r>
              <a:rPr lang="en-US" altLang="en-US" sz="2400" dirty="0"/>
              <a:t>Options for Cross-Debarment</a:t>
            </a:r>
            <a:endParaRPr lang="en-US" sz="2400" dirty="0"/>
          </a:p>
        </p:txBody>
      </p:sp>
    </p:spTree>
    <p:extLst>
      <p:ext uri="{BB962C8B-B14F-4D97-AF65-F5344CB8AC3E}">
        <p14:creationId xmlns:p14="http://schemas.microsoft.com/office/powerpoint/2010/main" val="17098273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001E176C-ADE2-4E5E-B26A-439458BF3EFF}"/>
              </a:ext>
            </a:extLst>
          </p:cNvPr>
          <p:cNvSpPr>
            <a:spLocks noGrp="1"/>
          </p:cNvSpPr>
          <p:nvPr>
            <p:ph sz="quarter" idx="12"/>
          </p:nvPr>
        </p:nvSpPr>
        <p:spPr>
          <a:xfrm>
            <a:off x="758578" y="1128409"/>
            <a:ext cx="10847917" cy="4915779"/>
          </a:xfrm>
        </p:spPr>
        <p:txBody>
          <a:bodyPr/>
          <a:lstStyle/>
          <a:p>
            <a:pPr marL="0" indent="0">
              <a:buNone/>
            </a:pPr>
            <a:r>
              <a:rPr lang="en-GB" dirty="0"/>
              <a:t>“. . . Georgia has moved to a </a:t>
            </a:r>
            <a:r>
              <a:rPr lang="en-GB" b="1" u="sng" dirty="0"/>
              <a:t>new stage of the fight </a:t>
            </a:r>
            <a:r>
              <a:rPr lang="en-GB" dirty="0"/>
              <a:t>against corruption and similarly to the democratic European states, the main target for Georgia now is to achieve a </a:t>
            </a:r>
            <a:r>
              <a:rPr lang="en-GB" b="1" dirty="0">
                <a:solidFill>
                  <a:srgbClr val="FF0000"/>
                </a:solidFill>
              </a:rPr>
              <a:t>high level of transparency and accountability</a:t>
            </a:r>
            <a:r>
              <a:rPr lang="en-GB" dirty="0"/>
              <a:t>, to </a:t>
            </a:r>
            <a:r>
              <a:rPr lang="en-GB" b="1" dirty="0">
                <a:solidFill>
                  <a:srgbClr val="7030A0"/>
                </a:solidFill>
              </a:rPr>
              <a:t>increase access to information and enhance the involvement of citizens</a:t>
            </a:r>
            <a:r>
              <a:rPr lang="en-GB" dirty="0"/>
              <a:t>, to </a:t>
            </a:r>
            <a:r>
              <a:rPr lang="en-GB" b="1" dirty="0">
                <a:solidFill>
                  <a:srgbClr val="FF0000"/>
                </a:solidFill>
              </a:rPr>
              <a:t>further improve corruption prevention mechanisms </a:t>
            </a:r>
            <a:r>
              <a:rPr lang="en-GB" dirty="0"/>
              <a:t>and </a:t>
            </a:r>
            <a:r>
              <a:rPr lang="en-GB" b="1" dirty="0">
                <a:solidFill>
                  <a:srgbClr val="7030A0"/>
                </a:solidFill>
              </a:rPr>
              <a:t>apply technologies and innovations </a:t>
            </a:r>
            <a:r>
              <a:rPr lang="en-GB" dirty="0"/>
              <a:t>in the public governance.”</a:t>
            </a:r>
            <a:endParaRPr lang="en-US" dirty="0"/>
          </a:p>
        </p:txBody>
      </p:sp>
      <p:pic>
        <p:nvPicPr>
          <p:cNvPr id="8" name="Picture 7">
            <a:extLst>
              <a:ext uri="{FF2B5EF4-FFF2-40B4-BE49-F238E27FC236}">
                <a16:creationId xmlns:a16="http://schemas.microsoft.com/office/drawing/2014/main" id="{CDA4E35E-0D64-414A-BC31-D75A7BFCBE9D}"/>
              </a:ext>
            </a:extLst>
          </p:cNvPr>
          <p:cNvPicPr>
            <a:picLocks noChangeAspect="1"/>
          </p:cNvPicPr>
          <p:nvPr/>
        </p:nvPicPr>
        <p:blipFill>
          <a:blip r:embed="rId2"/>
          <a:stretch>
            <a:fillRect/>
          </a:stretch>
        </p:blipFill>
        <p:spPr>
          <a:xfrm>
            <a:off x="6683082" y="5206361"/>
            <a:ext cx="5312519" cy="1455021"/>
          </a:xfrm>
          <a:prstGeom prst="rect">
            <a:avLst/>
          </a:prstGeom>
        </p:spPr>
      </p:pic>
    </p:spTree>
    <p:extLst>
      <p:ext uri="{BB962C8B-B14F-4D97-AF65-F5344CB8AC3E}">
        <p14:creationId xmlns:p14="http://schemas.microsoft.com/office/powerpoint/2010/main" val="6495486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1AF4F5-6001-4DA9-8F79-0B08D1FDE702}"/>
              </a:ext>
            </a:extLst>
          </p:cNvPr>
          <p:cNvSpPr>
            <a:spLocks noGrp="1"/>
          </p:cNvSpPr>
          <p:nvPr>
            <p:ph type="title"/>
          </p:nvPr>
        </p:nvSpPr>
        <p:spPr>
          <a:xfrm>
            <a:off x="963084" y="1435101"/>
            <a:ext cx="10363200" cy="1362075"/>
          </a:xfrm>
        </p:spPr>
        <p:txBody>
          <a:bodyPr/>
          <a:lstStyle/>
          <a:p>
            <a:r>
              <a:rPr lang="en-US" dirty="0"/>
              <a:t>Conclusion</a:t>
            </a:r>
          </a:p>
        </p:txBody>
      </p:sp>
      <p:sp>
        <p:nvSpPr>
          <p:cNvPr id="5" name="Text Placeholder 4">
            <a:extLst>
              <a:ext uri="{FF2B5EF4-FFF2-40B4-BE49-F238E27FC236}">
                <a16:creationId xmlns:a16="http://schemas.microsoft.com/office/drawing/2014/main" id="{15A49813-B824-4AC1-8B92-AD9C10202F98}"/>
              </a:ext>
            </a:extLst>
          </p:cNvPr>
          <p:cNvSpPr>
            <a:spLocks noGrp="1"/>
          </p:cNvSpPr>
          <p:nvPr>
            <p:ph type="body" idx="1"/>
          </p:nvPr>
        </p:nvSpPr>
        <p:spPr/>
        <p:txBody>
          <a:bodyPr/>
          <a:lstStyle/>
          <a:p>
            <a:r>
              <a:rPr lang="en-US" dirty="0"/>
              <a:t>Christopher Yukins</a:t>
            </a:r>
          </a:p>
          <a:p>
            <a:r>
              <a:rPr lang="en-US" dirty="0">
                <a:solidFill>
                  <a:schemeClr val="tx1"/>
                </a:solidFill>
                <a:hlinkClick r:id="rId2">
                  <a:extLst>
                    <a:ext uri="{A12FA001-AC4F-418D-AE19-62706E023703}">
                      <ahyp:hlinkClr xmlns:ahyp="http://schemas.microsoft.com/office/drawing/2018/hyperlinkcolor" val="tx"/>
                    </a:ext>
                  </a:extLst>
                </a:hlinkClick>
              </a:rPr>
              <a:t>cyukins@law.gwu.edu</a:t>
            </a:r>
            <a:endParaRPr lang="en-US" dirty="0">
              <a:solidFill>
                <a:schemeClr val="tx1"/>
              </a:solidFill>
            </a:endParaRPr>
          </a:p>
          <a:p>
            <a:endParaRPr lang="en-US" dirty="0"/>
          </a:p>
          <a:p>
            <a:endParaRPr lang="en-US" dirty="0"/>
          </a:p>
        </p:txBody>
      </p:sp>
      <p:sp>
        <p:nvSpPr>
          <p:cNvPr id="4" name="Slide Number Placeholder 3">
            <a:extLst>
              <a:ext uri="{FF2B5EF4-FFF2-40B4-BE49-F238E27FC236}">
                <a16:creationId xmlns:a16="http://schemas.microsoft.com/office/drawing/2014/main" id="{DDFEDE27-FE66-4127-B13B-82A46494659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marL="0" algn="r" defTabSz="914400" rtl="0" eaLnBrk="1" latinLnBrk="0" hangingPunct="1">
              <a:defRPr sz="1200" kern="1200">
                <a:solidFill>
                  <a:srgbClr val="FFFFFF"/>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2F38E86-00DB-4479-8CFF-DFF5598D7970}" type="slidenum">
              <a:rPr lang="en-US" altLang="en-US" smtClean="0"/>
              <a:pPr/>
              <a:t>30</a:t>
            </a:fld>
            <a:endParaRPr lang="pt-PT" altLang="en-US"/>
          </a:p>
        </p:txBody>
      </p:sp>
    </p:spTree>
    <p:extLst>
      <p:ext uri="{BB962C8B-B14F-4D97-AF65-F5344CB8AC3E}">
        <p14:creationId xmlns:p14="http://schemas.microsoft.com/office/powerpoint/2010/main" val="38994947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Picture 108" descr="unlogo"/>
          <p:cNvPicPr>
            <a:picLocks noChangeAspect="1" noChangeArrowheads="1"/>
          </p:cNvPicPr>
          <p:nvPr/>
        </p:nvPicPr>
        <p:blipFill>
          <a:blip r:embed="rId2" cstate="print"/>
          <a:srcRect/>
          <a:stretch>
            <a:fillRect/>
          </a:stretch>
        </p:blipFill>
        <p:spPr bwMode="auto">
          <a:xfrm>
            <a:off x="7842822" y="1575880"/>
            <a:ext cx="3934133" cy="3414414"/>
          </a:xfrm>
          <a:prstGeom prst="rect">
            <a:avLst/>
          </a:prstGeom>
          <a:noFill/>
          <a:ln w="9525">
            <a:noFill/>
            <a:miter lim="800000"/>
            <a:headEnd/>
            <a:tailEnd/>
          </a:ln>
        </p:spPr>
      </p:pic>
      <p:graphicFrame>
        <p:nvGraphicFramePr>
          <p:cNvPr id="1149034" name="Group 106"/>
          <p:cNvGraphicFramePr>
            <a:graphicFrameLocks noGrp="1"/>
          </p:cNvGraphicFramePr>
          <p:nvPr>
            <p:extLst>
              <p:ext uri="{D42A27DB-BD31-4B8C-83A1-F6EECF244321}">
                <p14:modId xmlns:p14="http://schemas.microsoft.com/office/powerpoint/2010/main" val="188608570"/>
              </p:ext>
            </p:extLst>
          </p:nvPr>
        </p:nvGraphicFramePr>
        <p:xfrm>
          <a:off x="176013" y="1277660"/>
          <a:ext cx="7162800" cy="5413641"/>
        </p:xfrm>
        <a:graphic>
          <a:graphicData uri="http://schemas.openxmlformats.org/drawingml/2006/table">
            <a:tbl>
              <a:tblPr/>
              <a:tblGrid>
                <a:gridCol w="7162800">
                  <a:extLst>
                    <a:ext uri="{9D8B030D-6E8A-4147-A177-3AD203B41FA5}">
                      <a16:colId xmlns:a16="http://schemas.microsoft.com/office/drawing/2014/main" val="20000"/>
                    </a:ext>
                  </a:extLst>
                </a:gridCol>
              </a:tblGrid>
              <a:tr h="79612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400" b="1" i="1" u="none" strike="noStrike" cap="none" normalizeH="0" baseline="0" dirty="0">
                          <a:ln>
                            <a:noFill/>
                          </a:ln>
                          <a:solidFill>
                            <a:srgbClr val="FFFF00"/>
                          </a:solidFill>
                          <a:effectLst/>
                          <a:latin typeface="Times New Roman" pitchFamily="18" charset="0"/>
                          <a:cs typeface="Times New Roman" pitchFamily="18" charset="0"/>
                        </a:rPr>
                        <a:t>United Nations Convention Against Corruption (Art. 9)</a:t>
                      </a:r>
                      <a:endParaRPr kumimoji="0" lang="en-US" sz="3600" b="1" i="0" u="none" strike="noStrike" cap="none" normalizeH="0" baseline="0" dirty="0">
                        <a:ln>
                          <a:noFill/>
                        </a:ln>
                        <a:solidFill>
                          <a:srgbClr val="FFFF00"/>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0"/>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Public Information</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1"/>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Advance award criteria and publication</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2"/>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Objective and predetermined criteria for award</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3"/>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Bid protest and appeal</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4"/>
                  </a:ext>
                </a:extLst>
              </a:tr>
              <a:tr h="123399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chemeClr val="bg1"/>
                          </a:solidFill>
                          <a:effectLst/>
                          <a:latin typeface="Times New Roman" pitchFamily="18" charset="0"/>
                          <a:cs typeface="Times New Roman" pitchFamily="18" charset="0"/>
                        </a:rPr>
                        <a:t>Measures to control procurement personnel – e.g., rules and codes</a:t>
                      </a:r>
                      <a:endParaRPr kumimoji="0" lang="en-US" sz="3600" b="1" i="0" u="none" strike="noStrike" cap="none" normalizeH="0" baseline="0" dirty="0">
                        <a:ln>
                          <a:noFill/>
                        </a:ln>
                        <a:solidFill>
                          <a:schemeClr val="bg1"/>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5"/>
                  </a:ext>
                </a:extLst>
              </a:tr>
              <a:tr h="67670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a:ln>
                            <a:noFill/>
                          </a:ln>
                          <a:solidFill>
                            <a:srgbClr val="FFC000"/>
                          </a:solidFill>
                          <a:effectLst/>
                          <a:latin typeface="Times New Roman" pitchFamily="18" charset="0"/>
                          <a:cs typeface="Times New Roman" pitchFamily="18" charset="0"/>
                        </a:rPr>
                        <a:t>Transparency, including in budgeting and accounting</a:t>
                      </a:r>
                      <a:endParaRPr kumimoji="0" lang="en-US" sz="3600" b="1" i="0" u="none" strike="noStrike" cap="none" normalizeH="0" baseline="0" dirty="0">
                        <a:ln>
                          <a:noFill/>
                        </a:ln>
                        <a:solidFill>
                          <a:srgbClr val="FFC000"/>
                        </a:solidFill>
                        <a:effectLst/>
                        <a:latin typeface="Arial" charset="0"/>
                      </a:endParaRP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050"/>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488572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solidFill>
          <a:schemeClr val="tx1"/>
        </a:solidFill>
        <a:effectLst/>
      </p:bgPr>
    </p:bg>
    <p:spTree>
      <p:nvGrpSpPr>
        <p:cNvPr id="1" name=""/>
        <p:cNvGrpSpPr/>
        <p:nvPr/>
      </p:nvGrpSpPr>
      <p:grpSpPr>
        <a:xfrm>
          <a:off x="0" y="0"/>
          <a:ext cx="0" cy="0"/>
          <a:chOff x="0" y="0"/>
          <a:chExt cx="0" cy="0"/>
        </a:xfrm>
      </p:grpSpPr>
      <p:pic>
        <p:nvPicPr>
          <p:cNvPr id="78850" name="Picture 13" descr="C:\Documents and Settings\cry3860\Local Settings\Temporary Internet Files\Content.IE5\1AF9QFTR\MPj0341873000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19229" y="87312"/>
            <a:ext cx="9613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3"/>
          <p:cNvSpPr>
            <a:spLocks noGrp="1"/>
          </p:cNvSpPr>
          <p:nvPr>
            <p:ph type="title" idx="4294967295"/>
          </p:nvPr>
        </p:nvSpPr>
        <p:spPr>
          <a:xfrm>
            <a:off x="2459705" y="61516"/>
            <a:ext cx="8229600" cy="1143000"/>
          </a:xfrm>
        </p:spPr>
        <p:txBody>
          <a:bodyPr/>
          <a:lstStyle/>
          <a:p>
            <a:pPr algn="r">
              <a:defRPr/>
            </a:pPr>
            <a:r>
              <a:rPr lang="en-US" sz="3200" dirty="0">
                <a:solidFill>
                  <a:schemeClr val="bg1"/>
                </a:solidFill>
              </a:rPr>
              <a:t>Tools for Fighting Corruption in Procurement</a:t>
            </a:r>
          </a:p>
        </p:txBody>
      </p:sp>
      <p:pic>
        <p:nvPicPr>
          <p:cNvPr id="78852" name="Picture 2" descr="C:\Documents and Settings\cry3860\Local Settings\Temporary Internet Files\Content.IE5\4VSDYZDM\MPj04008490000[1].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29500" y="4495800"/>
            <a:ext cx="362108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3" name="Picture 8" descr="C:\Documents and Settings\cry3860\Local Settings\Temporary Internet Files\Content.IE5\4VSDYZDM\MPj04065550000[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4000" y="762000"/>
            <a:ext cx="20462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54" name="Picture 9" descr="C:\Program Files\Microsoft Office\MEDIA\CAGCAT10\j0233018.wmf"/>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16939" y="895152"/>
            <a:ext cx="2574925"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855" name="TextBox 12"/>
          <p:cNvSpPr txBox="1">
            <a:spLocks noChangeArrowheads="1"/>
          </p:cNvSpPr>
          <p:nvPr/>
        </p:nvSpPr>
        <p:spPr bwMode="auto">
          <a:xfrm>
            <a:off x="1644650" y="2496344"/>
            <a:ext cx="1676400" cy="646331"/>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r>
              <a:rPr lang="en-US" altLang="en-US" b="1" dirty="0">
                <a:solidFill>
                  <a:srgbClr val="FFFFFF"/>
                </a:solidFill>
              </a:rPr>
              <a:t>Exclusion / Debarment</a:t>
            </a:r>
          </a:p>
        </p:txBody>
      </p:sp>
      <p:sp>
        <p:nvSpPr>
          <p:cNvPr id="78856" name="TextBox 13"/>
          <p:cNvSpPr txBox="1">
            <a:spLocks noChangeArrowheads="1"/>
          </p:cNvSpPr>
          <p:nvPr/>
        </p:nvSpPr>
        <p:spPr bwMode="auto">
          <a:xfrm>
            <a:off x="8534400" y="1447800"/>
            <a:ext cx="1676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eaLnBrk="0" fontAlgn="base" hangingPunct="0">
              <a:spcBef>
                <a:spcPct val="0"/>
              </a:spcBef>
              <a:spcAft>
                <a:spcPct val="0"/>
              </a:spcAft>
            </a:pPr>
            <a:r>
              <a:rPr lang="en-US" altLang="en-US" b="1">
                <a:solidFill>
                  <a:srgbClr val="FFFFFF"/>
                </a:solidFill>
              </a:rPr>
              <a:t>Tender Boards</a:t>
            </a:r>
          </a:p>
        </p:txBody>
      </p:sp>
      <p:sp>
        <p:nvSpPr>
          <p:cNvPr id="15" name="TextBox 14"/>
          <p:cNvSpPr txBox="1"/>
          <p:nvPr/>
        </p:nvSpPr>
        <p:spPr>
          <a:xfrm>
            <a:off x="7581901" y="6541536"/>
            <a:ext cx="1790699" cy="369332"/>
          </a:xfrm>
          <a:prstGeom prst="rect">
            <a:avLst/>
          </a:prstGeom>
          <a:solidFill>
            <a:schemeClr val="tx1"/>
          </a:solidFill>
        </p:spPr>
        <p:txBody>
          <a:bodyPr wrap="square">
            <a:spAutoFit/>
          </a:bodyPr>
          <a:lstStyle/>
          <a:p>
            <a:pPr algn="r" eaLnBrk="0" hangingPunct="0">
              <a:defRPr/>
            </a:pPr>
            <a:r>
              <a:rPr lang="en-US" b="1" dirty="0">
                <a:solidFill>
                  <a:schemeClr val="bg1"/>
                </a:solidFill>
              </a:rPr>
              <a:t>Prosecution</a:t>
            </a:r>
          </a:p>
        </p:txBody>
      </p:sp>
      <p:pic>
        <p:nvPicPr>
          <p:cNvPr id="78858" name="Picture 12" descr="C:\Documents and Settings\cry3860\Local Settings\Temporary Internet Files\Content.IE5\KGT0UCN1\MPj04009640000[1].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53200" y="914400"/>
            <a:ext cx="20574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p:nvPr/>
        </p:nvSpPr>
        <p:spPr>
          <a:xfrm>
            <a:off x="7010400" y="1676400"/>
            <a:ext cx="1676400" cy="369888"/>
          </a:xfrm>
          <a:prstGeom prst="rect">
            <a:avLst/>
          </a:prstGeom>
          <a:noFill/>
        </p:spPr>
        <p:txBody>
          <a:bodyPr>
            <a:spAutoFit/>
          </a:bodyPr>
          <a:lstStyle/>
          <a:p>
            <a:pPr eaLnBrk="0" hangingPunct="0">
              <a:defRPr/>
            </a:pPr>
            <a:r>
              <a:rPr lang="en-US" b="1" dirty="0">
                <a:solidFill>
                  <a:srgbClr val="003399">
                    <a:lumMod val="50000"/>
                  </a:srgbClr>
                </a:solidFill>
              </a:rPr>
              <a:t>Audits</a:t>
            </a:r>
          </a:p>
        </p:txBody>
      </p:sp>
      <p:pic>
        <p:nvPicPr>
          <p:cNvPr id="78860" name="Picture 14" descr="C:\Documents and Settings\cry3860\Local Settings\Temporary Internet Files\Content.IE5\707WL4NK\MPj04049520000[1].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24000" y="4826000"/>
            <a:ext cx="3048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p:cNvSpPr txBox="1"/>
          <p:nvPr/>
        </p:nvSpPr>
        <p:spPr>
          <a:xfrm>
            <a:off x="2819400" y="6172204"/>
            <a:ext cx="1600200" cy="646331"/>
          </a:xfrm>
          <a:prstGeom prst="rect">
            <a:avLst/>
          </a:prstGeom>
          <a:noFill/>
        </p:spPr>
        <p:txBody>
          <a:bodyPr>
            <a:spAutoFit/>
          </a:bodyPr>
          <a:lstStyle/>
          <a:p>
            <a:pPr algn="r" eaLnBrk="0" hangingPunct="0">
              <a:defRPr/>
            </a:pPr>
            <a:r>
              <a:rPr lang="en-US" b="1" dirty="0">
                <a:solidFill>
                  <a:srgbClr val="003399">
                    <a:lumMod val="50000"/>
                  </a:srgbClr>
                </a:solidFill>
              </a:rPr>
              <a:t>Bid Challenges</a:t>
            </a:r>
          </a:p>
        </p:txBody>
      </p:sp>
      <p:pic>
        <p:nvPicPr>
          <p:cNvPr id="78862" name="Picture 19" descr="C:\Documents and Settings\cry3860\Local Settings\Temporary Internet Files\Content.IE5\KGT0UCN1\MPj04387360000[1].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886200" y="76200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8865" name="Picture 18" descr="C:\Documents and Settings\cry3860\Local Settings\Temporary Internet Files\Content.IE5\A17A2ERR\MPj04011010000[1].jp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422900" y="2164556"/>
            <a:ext cx="1828800" cy="274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p:cNvSpPr txBox="1"/>
          <p:nvPr/>
        </p:nvSpPr>
        <p:spPr>
          <a:xfrm>
            <a:off x="5740400" y="4138619"/>
            <a:ext cx="1669078" cy="369888"/>
          </a:xfrm>
          <a:prstGeom prst="rect">
            <a:avLst/>
          </a:prstGeom>
          <a:solidFill>
            <a:schemeClr val="bg1">
              <a:lumMod val="75000"/>
            </a:schemeClr>
          </a:solidFill>
        </p:spPr>
        <p:txBody>
          <a:bodyPr wrap="square">
            <a:spAutoFit/>
          </a:bodyPr>
          <a:lstStyle/>
          <a:p>
            <a:pPr eaLnBrk="0" hangingPunct="0">
              <a:defRPr/>
            </a:pPr>
            <a:r>
              <a:rPr lang="en-US" b="1" dirty="0">
                <a:solidFill>
                  <a:srgbClr val="FFFFFF"/>
                </a:solidFill>
              </a:rPr>
              <a:t>Oversight</a:t>
            </a:r>
          </a:p>
        </p:txBody>
      </p:sp>
      <p:sp>
        <p:nvSpPr>
          <p:cNvPr id="30" name="TextBox 29"/>
          <p:cNvSpPr txBox="1"/>
          <p:nvPr/>
        </p:nvSpPr>
        <p:spPr>
          <a:xfrm>
            <a:off x="3962400" y="1447800"/>
            <a:ext cx="2438400" cy="338138"/>
          </a:xfrm>
          <a:prstGeom prst="rect">
            <a:avLst/>
          </a:prstGeom>
          <a:solidFill>
            <a:schemeClr val="bg1">
              <a:lumMod val="75000"/>
            </a:schemeClr>
          </a:solidFill>
        </p:spPr>
        <p:txBody>
          <a:bodyPr>
            <a:spAutoFit/>
          </a:bodyPr>
          <a:lstStyle/>
          <a:p>
            <a:pPr eaLnBrk="0" hangingPunct="0">
              <a:defRPr/>
            </a:pPr>
            <a:r>
              <a:rPr lang="en-US" sz="1600" b="1" dirty="0"/>
              <a:t>Corporate Compliance</a:t>
            </a:r>
          </a:p>
        </p:txBody>
      </p:sp>
      <p:pic>
        <p:nvPicPr>
          <p:cNvPr id="78868" name="Picture 20" descr="C:\Documents and Settings\cry3860\Local Settings\Temporary Internet Files\Content.IE5\29HE4BDD\MPj04227250000[1].jp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4004" y="3200400"/>
            <a:ext cx="18589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p:cNvSpPr txBox="1"/>
          <p:nvPr/>
        </p:nvSpPr>
        <p:spPr>
          <a:xfrm>
            <a:off x="1542916" y="3175913"/>
            <a:ext cx="1676400" cy="430887"/>
          </a:xfrm>
          <a:prstGeom prst="rect">
            <a:avLst/>
          </a:prstGeom>
          <a:noFill/>
        </p:spPr>
        <p:txBody>
          <a:bodyPr>
            <a:spAutoFit/>
          </a:bodyPr>
          <a:lstStyle/>
          <a:p>
            <a:pPr eaLnBrk="0" hangingPunct="0">
              <a:defRPr/>
            </a:pPr>
            <a:r>
              <a:rPr lang="en-US" sz="1100" b="1" dirty="0">
                <a:solidFill>
                  <a:srgbClr val="003399">
                    <a:lumMod val="50000"/>
                  </a:srgbClr>
                </a:solidFill>
              </a:rPr>
              <a:t>Ethics/Conflicts of Interest</a:t>
            </a:r>
          </a:p>
        </p:txBody>
      </p:sp>
      <p:pic>
        <p:nvPicPr>
          <p:cNvPr id="4" name="Picture 3">
            <a:extLst>
              <a:ext uri="{FF2B5EF4-FFF2-40B4-BE49-F238E27FC236}">
                <a16:creationId xmlns:a16="http://schemas.microsoft.com/office/drawing/2014/main" id="{AA1E911B-AA73-460B-8D37-B57DC6D554A9}"/>
              </a:ext>
            </a:extLst>
          </p:cNvPr>
          <p:cNvPicPr>
            <a:picLocks noChangeAspect="1"/>
          </p:cNvPicPr>
          <p:nvPr/>
        </p:nvPicPr>
        <p:blipFill>
          <a:blip r:embed="rId12"/>
          <a:stretch>
            <a:fillRect/>
          </a:stretch>
        </p:blipFill>
        <p:spPr>
          <a:xfrm>
            <a:off x="4971078" y="4936430"/>
            <a:ext cx="2438400" cy="1953950"/>
          </a:xfrm>
          <a:prstGeom prst="rect">
            <a:avLst/>
          </a:prstGeom>
        </p:spPr>
      </p:pic>
      <p:sp>
        <p:nvSpPr>
          <p:cNvPr id="2" name="Rectangle: Diagonal Corners Rounded 1">
            <a:extLst>
              <a:ext uri="{FF2B5EF4-FFF2-40B4-BE49-F238E27FC236}">
                <a16:creationId xmlns:a16="http://schemas.microsoft.com/office/drawing/2014/main" id="{891ED429-F80B-444C-9D4B-2B6DD03F0974}"/>
              </a:ext>
            </a:extLst>
          </p:cNvPr>
          <p:cNvSpPr/>
          <p:nvPr/>
        </p:nvSpPr>
        <p:spPr>
          <a:xfrm>
            <a:off x="3500438" y="2656681"/>
            <a:ext cx="1816100" cy="2140744"/>
          </a:xfrm>
          <a:prstGeom prst="round2Diag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endParaRPr lang="en-US" dirty="0">
              <a:solidFill>
                <a:schemeClr val="tx1"/>
              </a:solidFill>
            </a:endParaRPr>
          </a:p>
          <a:p>
            <a:pPr algn="ctr"/>
            <a:r>
              <a:rPr lang="en-US" sz="1600" b="1" dirty="0">
                <a:solidFill>
                  <a:schemeClr val="tx1"/>
                </a:solidFill>
              </a:rPr>
              <a:t>Whistleblower</a:t>
            </a:r>
          </a:p>
        </p:txBody>
      </p:sp>
      <p:pic>
        <p:nvPicPr>
          <p:cNvPr id="3" name="Picture 2">
            <a:extLst>
              <a:ext uri="{FF2B5EF4-FFF2-40B4-BE49-F238E27FC236}">
                <a16:creationId xmlns:a16="http://schemas.microsoft.com/office/drawing/2014/main" id="{C1ABDC1C-3B6B-442B-B999-F49A3B519F32}"/>
              </a:ext>
            </a:extLst>
          </p:cNvPr>
          <p:cNvPicPr>
            <a:picLocks noChangeAspect="1"/>
          </p:cNvPicPr>
          <p:nvPr/>
        </p:nvPicPr>
        <p:blipFill>
          <a:blip r:embed="rId13"/>
          <a:stretch>
            <a:fillRect/>
          </a:stretch>
        </p:blipFill>
        <p:spPr>
          <a:xfrm>
            <a:off x="3803783" y="2740274"/>
            <a:ext cx="1231633" cy="1552076"/>
          </a:xfrm>
          <a:prstGeom prst="rect">
            <a:avLst/>
          </a:prstGeom>
        </p:spPr>
      </p:pic>
      <p:sp>
        <p:nvSpPr>
          <p:cNvPr id="26" name="TextBox 25"/>
          <p:cNvSpPr txBox="1"/>
          <p:nvPr/>
        </p:nvSpPr>
        <p:spPr>
          <a:xfrm>
            <a:off x="4876800" y="6400800"/>
            <a:ext cx="2438400" cy="369888"/>
          </a:xfrm>
          <a:prstGeom prst="rect">
            <a:avLst/>
          </a:prstGeom>
          <a:solidFill>
            <a:schemeClr val="bg1">
              <a:lumMod val="75000"/>
            </a:schemeClr>
          </a:solidFill>
        </p:spPr>
        <p:txBody>
          <a:bodyPr>
            <a:spAutoFit/>
          </a:bodyPr>
          <a:lstStyle/>
          <a:p>
            <a:pPr eaLnBrk="0" hangingPunct="0">
              <a:defRPr/>
            </a:pPr>
            <a:r>
              <a:rPr lang="en-US" b="1" dirty="0">
                <a:solidFill>
                  <a:srgbClr val="FFFFFF"/>
                </a:solidFill>
              </a:rPr>
              <a:t>Transparency</a:t>
            </a:r>
          </a:p>
        </p:txBody>
      </p:sp>
      <p:pic>
        <p:nvPicPr>
          <p:cNvPr id="7" name="Picture 6">
            <a:extLst>
              <a:ext uri="{FF2B5EF4-FFF2-40B4-BE49-F238E27FC236}">
                <a16:creationId xmlns:a16="http://schemas.microsoft.com/office/drawing/2014/main" id="{F0865CD4-00EA-4545-8DCF-8D63919EC9B6}"/>
              </a:ext>
            </a:extLst>
          </p:cNvPr>
          <p:cNvPicPr>
            <a:picLocks noChangeAspect="1"/>
          </p:cNvPicPr>
          <p:nvPr/>
        </p:nvPicPr>
        <p:blipFill>
          <a:blip r:embed="rId14"/>
          <a:stretch>
            <a:fillRect/>
          </a:stretch>
        </p:blipFill>
        <p:spPr>
          <a:xfrm>
            <a:off x="7516885" y="2599589"/>
            <a:ext cx="1963705" cy="1606492"/>
          </a:xfrm>
          <a:prstGeom prst="rect">
            <a:avLst/>
          </a:prstGeom>
        </p:spPr>
      </p:pic>
      <p:sp>
        <p:nvSpPr>
          <p:cNvPr id="5" name="TextBox 4">
            <a:extLst>
              <a:ext uri="{FF2B5EF4-FFF2-40B4-BE49-F238E27FC236}">
                <a16:creationId xmlns:a16="http://schemas.microsoft.com/office/drawing/2014/main" id="{A266B6E3-BFEE-40BF-BDDB-C099431C6EB2}"/>
              </a:ext>
            </a:extLst>
          </p:cNvPr>
          <p:cNvSpPr txBox="1"/>
          <p:nvPr/>
        </p:nvSpPr>
        <p:spPr>
          <a:xfrm>
            <a:off x="7581900" y="4086915"/>
            <a:ext cx="3090644" cy="369332"/>
          </a:xfrm>
          <a:prstGeom prst="rect">
            <a:avLst/>
          </a:prstGeom>
          <a:solidFill>
            <a:schemeClr val="bg1"/>
          </a:solidFill>
        </p:spPr>
        <p:txBody>
          <a:bodyPr wrap="square" rtlCol="0">
            <a:spAutoFit/>
          </a:bodyPr>
          <a:lstStyle/>
          <a:p>
            <a:r>
              <a:rPr lang="en-US" b="1" dirty="0"/>
              <a:t>Anti-Fraud</a:t>
            </a:r>
          </a:p>
        </p:txBody>
      </p:sp>
    </p:spTree>
    <p:extLst>
      <p:ext uri="{BB962C8B-B14F-4D97-AF65-F5344CB8AC3E}">
        <p14:creationId xmlns:p14="http://schemas.microsoft.com/office/powerpoint/2010/main" val="163613028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85967C-6373-40C2-A522-E5C00A5D8828}"/>
              </a:ext>
            </a:extLst>
          </p:cNvPr>
          <p:cNvSpPr>
            <a:spLocks noGrp="1"/>
          </p:cNvSpPr>
          <p:nvPr>
            <p:ph type="title"/>
          </p:nvPr>
        </p:nvSpPr>
        <p:spPr/>
        <p:txBody>
          <a:bodyPr/>
          <a:lstStyle/>
          <a:p>
            <a:r>
              <a:rPr lang="en-US" dirty="0"/>
              <a:t>Tender boards</a:t>
            </a:r>
          </a:p>
        </p:txBody>
      </p:sp>
      <p:sp>
        <p:nvSpPr>
          <p:cNvPr id="3" name="Text Placeholder 2">
            <a:extLst>
              <a:ext uri="{FF2B5EF4-FFF2-40B4-BE49-F238E27FC236}">
                <a16:creationId xmlns:a16="http://schemas.microsoft.com/office/drawing/2014/main" id="{F522ED4C-099F-4CEF-86DA-5A7EEA147093}"/>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6568579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4">
            <a:extLst>
              <a:ext uri="{FF2B5EF4-FFF2-40B4-BE49-F238E27FC236}">
                <a16:creationId xmlns:a16="http://schemas.microsoft.com/office/drawing/2014/main" id="{A9288352-2767-4162-B998-09FD5E6D1C7C}"/>
              </a:ext>
            </a:extLst>
          </p:cNvPr>
          <p:cNvGraphicFramePr/>
          <p:nvPr>
            <p:extLst>
              <p:ext uri="{D42A27DB-BD31-4B8C-83A1-F6EECF244321}">
                <p14:modId xmlns:p14="http://schemas.microsoft.com/office/powerpoint/2010/main" val="2769346720"/>
              </p:ext>
            </p:extLst>
          </p:nvPr>
        </p:nvGraphicFramePr>
        <p:xfrm>
          <a:off x="2031999" y="0"/>
          <a:ext cx="8856911" cy="67028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Rectangle 5">
            <a:extLst>
              <a:ext uri="{FF2B5EF4-FFF2-40B4-BE49-F238E27FC236}">
                <a16:creationId xmlns:a16="http://schemas.microsoft.com/office/drawing/2014/main" id="{EBE8B68A-B4E3-470D-AF78-6529CA89C4F0}"/>
              </a:ext>
            </a:extLst>
          </p:cNvPr>
          <p:cNvSpPr/>
          <p:nvPr/>
        </p:nvSpPr>
        <p:spPr>
          <a:xfrm rot="16200000">
            <a:off x="-1538448" y="3556934"/>
            <a:ext cx="4379053" cy="729842"/>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tx1"/>
                </a:solidFill>
              </a:rPr>
              <a:t>Tender Boards</a:t>
            </a:r>
          </a:p>
        </p:txBody>
      </p:sp>
      <p:pic>
        <p:nvPicPr>
          <p:cNvPr id="8" name="Picture 9" descr="C:\Program Files\Microsoft Office\MEDIA\CAGCAT10\j0233018.wmf">
            <a:extLst>
              <a:ext uri="{FF2B5EF4-FFF2-40B4-BE49-F238E27FC236}">
                <a16:creationId xmlns:a16="http://schemas.microsoft.com/office/drawing/2014/main" id="{5ECBEBA4-1D71-40A2-941D-12B5FAC7FDE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10734" y="1130842"/>
            <a:ext cx="1184711" cy="1202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86688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62DD90-C393-4036-A621-4F4EFF4D4A8B}"/>
              </a:ext>
            </a:extLst>
          </p:cNvPr>
          <p:cNvSpPr>
            <a:spLocks noGrp="1"/>
          </p:cNvSpPr>
          <p:nvPr>
            <p:ph type="title"/>
          </p:nvPr>
        </p:nvSpPr>
        <p:spPr>
          <a:xfrm>
            <a:off x="914400" y="4633404"/>
            <a:ext cx="10363200" cy="1362075"/>
          </a:xfrm>
        </p:spPr>
        <p:txBody>
          <a:bodyPr/>
          <a:lstStyle/>
          <a:p>
            <a:r>
              <a:rPr lang="en-US" dirty="0"/>
              <a:t>Transparency</a:t>
            </a:r>
          </a:p>
        </p:txBody>
      </p:sp>
      <p:sp>
        <p:nvSpPr>
          <p:cNvPr id="3" name="Text Placeholder 2">
            <a:extLst>
              <a:ext uri="{FF2B5EF4-FFF2-40B4-BE49-F238E27FC236}">
                <a16:creationId xmlns:a16="http://schemas.microsoft.com/office/drawing/2014/main" id="{BE007495-54B1-4FDD-815A-7BD0B2EA84B2}"/>
              </a:ext>
            </a:extLst>
          </p:cNvPr>
          <p:cNvSpPr>
            <a:spLocks noGrp="1"/>
          </p:cNvSpPr>
          <p:nvPr>
            <p:ph type="body" idx="1"/>
          </p:nvPr>
        </p:nvSpPr>
        <p:spPr>
          <a:xfrm>
            <a:off x="914400" y="3040937"/>
            <a:ext cx="10363200" cy="1500187"/>
          </a:xfrm>
        </p:spPr>
        <p:txBody>
          <a:bodyPr/>
          <a:lstStyle/>
          <a:p>
            <a:endParaRPr lang="en-US"/>
          </a:p>
        </p:txBody>
      </p:sp>
      <p:pic>
        <p:nvPicPr>
          <p:cNvPr id="4" name="Picture 3">
            <a:extLst>
              <a:ext uri="{FF2B5EF4-FFF2-40B4-BE49-F238E27FC236}">
                <a16:creationId xmlns:a16="http://schemas.microsoft.com/office/drawing/2014/main" id="{9992272F-22EF-4FDD-A0F9-F15B2B798FB8}"/>
              </a:ext>
            </a:extLst>
          </p:cNvPr>
          <p:cNvPicPr>
            <a:picLocks noChangeAspect="1"/>
          </p:cNvPicPr>
          <p:nvPr/>
        </p:nvPicPr>
        <p:blipFill>
          <a:blip r:embed="rId2"/>
          <a:stretch>
            <a:fillRect/>
          </a:stretch>
        </p:blipFill>
        <p:spPr>
          <a:xfrm>
            <a:off x="6605823" y="1188965"/>
            <a:ext cx="4974226" cy="2126910"/>
          </a:xfrm>
          <a:prstGeom prst="rect">
            <a:avLst/>
          </a:prstGeom>
        </p:spPr>
      </p:pic>
      <p:sp>
        <p:nvSpPr>
          <p:cNvPr id="7" name="Rectangle 6">
            <a:extLst>
              <a:ext uri="{FF2B5EF4-FFF2-40B4-BE49-F238E27FC236}">
                <a16:creationId xmlns:a16="http://schemas.microsoft.com/office/drawing/2014/main" id="{720B0A2B-F094-4168-8BBB-29BB0738E46D}"/>
              </a:ext>
            </a:extLst>
          </p:cNvPr>
          <p:cNvSpPr/>
          <p:nvPr/>
        </p:nvSpPr>
        <p:spPr>
          <a:xfrm>
            <a:off x="5562763" y="3362015"/>
            <a:ext cx="6096000" cy="3586303"/>
          </a:xfrm>
          <a:prstGeom prst="rect">
            <a:avLst/>
          </a:prstGeom>
        </p:spPr>
        <p:txBody>
          <a:bodyPr>
            <a:spAutoFit/>
          </a:bodyPr>
          <a:lstStyle/>
          <a:p>
            <a:pPr algn="just">
              <a:lnSpc>
                <a:spcPct val="115000"/>
              </a:lnSpc>
              <a:spcAft>
                <a:spcPts val="800"/>
              </a:spcAft>
            </a:pPr>
            <a:r>
              <a:rPr lang="en-GB" dirty="0">
                <a:latin typeface="Sylfaen" panose="010A0502050306030303" pitchFamily="18" charset="0"/>
                <a:ea typeface="Times New Roman" panose="02020603050405020304" pitchFamily="18" charset="0"/>
                <a:cs typeface="Times New Roman" panose="02020603050405020304" pitchFamily="18" charset="0"/>
              </a:rPr>
              <a:t>“According to the . . . Report of Georgia issued by the Anticorruption Network of the Organisation of the Economic Cooperation and Development </a:t>
            </a:r>
            <a:r>
              <a:rPr lang="en-GB" dirty="0">
                <a:latin typeface="Sylfaen" panose="010A0502050306030303" pitchFamily="18" charset="0"/>
                <a:ea typeface="Times New Roman" panose="02020603050405020304" pitchFamily="18" charset="0"/>
                <a:cs typeface="Sylfaen" panose="010A0502050306030303" pitchFamily="18" charset="0"/>
              </a:rPr>
              <a:t>(OECD-ACN), ‘</a:t>
            </a:r>
            <a:r>
              <a:rPr lang="en-GB" dirty="0">
                <a:latin typeface="Sylfaen" panose="010A0502050306030303" pitchFamily="18" charset="0"/>
                <a:ea typeface="Times New Roman" panose="02020603050405020304" pitchFamily="18" charset="0"/>
                <a:cs typeface="Times New Roman" panose="02020603050405020304" pitchFamily="18" charset="0"/>
              </a:rPr>
              <a:t>the State Procurement Agency (SPA) </a:t>
            </a:r>
            <a:r>
              <a:rPr lang="en-GB" b="1" dirty="0">
                <a:latin typeface="Sylfaen" panose="010A0502050306030303" pitchFamily="18" charset="0"/>
                <a:ea typeface="Times New Roman" panose="02020603050405020304" pitchFamily="18" charset="0"/>
                <a:cs typeface="Times New Roman" panose="02020603050405020304" pitchFamily="18" charset="0"/>
              </a:rPr>
              <a:t>maintains one of the highest levels of transparency and openness of . . . public procurement </a:t>
            </a:r>
            <a:r>
              <a:rPr lang="en-GB" dirty="0">
                <a:latin typeface="Sylfaen" panose="010A0502050306030303" pitchFamily="18" charset="0"/>
                <a:ea typeface="Times New Roman" panose="02020603050405020304" pitchFamily="18" charset="0"/>
                <a:cs typeface="Times New Roman" panose="02020603050405020304" pitchFamily="18" charset="0"/>
              </a:rPr>
              <a:t>in the world through the use of e-procurement platform.’”</a:t>
            </a:r>
          </a:p>
          <a:p>
            <a:pPr algn="r"/>
            <a:r>
              <a:rPr lang="en-GB" b="1" cap="all" dirty="0"/>
              <a:t>National Anti-Corruption strategy of </a:t>
            </a:r>
            <a:r>
              <a:rPr lang="en-GB" b="1" cap="all" dirty="0" err="1"/>
              <a:t>georgia</a:t>
            </a:r>
            <a:r>
              <a:rPr lang="en-GB" b="1" dirty="0"/>
              <a:t> </a:t>
            </a:r>
            <a:endParaRPr lang="en-US" dirty="0"/>
          </a:p>
          <a:p>
            <a:r>
              <a:rPr lang="en-GB" b="1" dirty="0">
                <a:solidFill>
                  <a:schemeClr val="bg1"/>
                </a:solidFill>
              </a:rPr>
              <a:t>2017-2018</a:t>
            </a:r>
            <a:endParaRPr lang="en-US" dirty="0">
              <a:solidFill>
                <a:schemeClr val="bg1"/>
              </a:solidFill>
            </a:endParaRPr>
          </a:p>
          <a:p>
            <a:pPr algn="just">
              <a:lnSpc>
                <a:spcPct val="115000"/>
              </a:lnSpc>
              <a:spcAft>
                <a:spcPts val="800"/>
              </a:spcAft>
            </a:pPr>
            <a:endParaRPr lang="en-GB" dirty="0">
              <a:latin typeface="Sylfaen" panose="010A0502050306030303" pitchFamily="18" charset="0"/>
              <a:ea typeface="Times New Roman" panose="02020603050405020304" pitchFamily="18" charset="0"/>
              <a:cs typeface="Times New Roman" panose="02020603050405020304" pitchFamily="18" charset="0"/>
            </a:endParaRPr>
          </a:p>
          <a:p>
            <a:pPr algn="just">
              <a:lnSpc>
                <a:spcPct val="115000"/>
              </a:lnSpc>
              <a:spcAft>
                <a:spcPts val="800"/>
              </a:spcAft>
            </a:pPr>
            <a:endParaRPr lang="en-US" sz="1400" dirty="0">
              <a:effectLst/>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2810865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1C578A6-9ABF-4D6D-B1CC-DD0BA6072DDE}"/>
              </a:ext>
            </a:extLst>
          </p:cNvPr>
          <p:cNvSpPr txBox="1"/>
          <p:nvPr/>
        </p:nvSpPr>
        <p:spPr>
          <a:xfrm>
            <a:off x="3903225" y="1580031"/>
            <a:ext cx="4717915" cy="4801314"/>
          </a:xfrm>
          <a:prstGeom prst="rect">
            <a:avLst/>
          </a:prstGeom>
          <a:noFill/>
        </p:spPr>
        <p:txBody>
          <a:bodyPr wrap="square" rtlCol="0">
            <a:spAutoFit/>
          </a:bodyPr>
          <a:lstStyle/>
          <a:p>
            <a:r>
              <a:rPr lang="en-US" b="1" dirty="0">
                <a:solidFill>
                  <a:srgbClr val="7030A0"/>
                </a:solidFill>
              </a:rPr>
              <a:t>Open Government Partnership Action Plan of Georgia 2018-2019:  </a:t>
            </a:r>
          </a:p>
          <a:p>
            <a:endParaRPr lang="en-US" dirty="0"/>
          </a:p>
          <a:p>
            <a:r>
              <a:rPr lang="en-US" b="1" dirty="0">
                <a:solidFill>
                  <a:srgbClr val="FF0000"/>
                </a:solidFill>
              </a:rPr>
              <a:t>The Public Procurement Agency (PPA),</a:t>
            </a:r>
            <a:r>
              <a:rPr lang="en-US" dirty="0"/>
              <a:t> with the support of the World Bank (WB) and the Department of International Development (DFID), also in cooperation with the Open Contracting Partnership (OCP) actively works on the </a:t>
            </a:r>
            <a:r>
              <a:rPr lang="en-US" b="1" dirty="0">
                <a:solidFill>
                  <a:srgbClr val="7030A0"/>
                </a:solidFill>
              </a:rPr>
              <a:t>introduction of the Open Contracting Data Standard (OCDS). </a:t>
            </a:r>
            <a:r>
              <a:rPr lang="en-US" dirty="0"/>
              <a:t>It should be noted that the OCDS implies introduction of an open data standard for publication of structured information on all stages of a contracting process: from planning to implementation.</a:t>
            </a:r>
          </a:p>
          <a:p>
            <a:r>
              <a:rPr lang="en-US" dirty="0"/>
              <a:t> </a:t>
            </a:r>
          </a:p>
          <a:p>
            <a:endParaRPr lang="en-US" dirty="0"/>
          </a:p>
        </p:txBody>
      </p:sp>
      <p:sp>
        <p:nvSpPr>
          <p:cNvPr id="5" name="Oval 4">
            <a:extLst>
              <a:ext uri="{FF2B5EF4-FFF2-40B4-BE49-F238E27FC236}">
                <a16:creationId xmlns:a16="http://schemas.microsoft.com/office/drawing/2014/main" id="{15E534BE-A55F-4E1E-BE29-25538DEE8C24}"/>
              </a:ext>
            </a:extLst>
          </p:cNvPr>
          <p:cNvSpPr/>
          <p:nvPr/>
        </p:nvSpPr>
        <p:spPr>
          <a:xfrm>
            <a:off x="273185" y="3035029"/>
            <a:ext cx="3297677" cy="146887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rgbClr val="7030A0"/>
                </a:solidFill>
              </a:rPr>
              <a:t>Accessible</a:t>
            </a:r>
          </a:p>
        </p:txBody>
      </p:sp>
      <p:sp>
        <p:nvSpPr>
          <p:cNvPr id="7" name="Oval 6">
            <a:extLst>
              <a:ext uri="{FF2B5EF4-FFF2-40B4-BE49-F238E27FC236}">
                <a16:creationId xmlns:a16="http://schemas.microsoft.com/office/drawing/2014/main" id="{0B226A22-25CC-46BF-ABEE-BC92E911E221}"/>
              </a:ext>
            </a:extLst>
          </p:cNvPr>
          <p:cNvSpPr/>
          <p:nvPr/>
        </p:nvSpPr>
        <p:spPr>
          <a:xfrm>
            <a:off x="8806774" y="3132305"/>
            <a:ext cx="3297677" cy="146887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rgbClr val="7030A0"/>
                </a:solidFill>
              </a:rPr>
              <a:t>Usable</a:t>
            </a:r>
          </a:p>
        </p:txBody>
      </p:sp>
    </p:spTree>
    <p:extLst>
      <p:ext uri="{BB962C8B-B14F-4D97-AF65-F5344CB8AC3E}">
        <p14:creationId xmlns:p14="http://schemas.microsoft.com/office/powerpoint/2010/main" val="41901786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andarddesign">
  <a:themeElements>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rddesig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750</TotalTime>
  <Words>1669</Words>
  <Application>Microsoft Office PowerPoint</Application>
  <PresentationFormat>Widescreen</PresentationFormat>
  <Paragraphs>303</Paragraphs>
  <Slides>30</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3</vt:i4>
      </vt:variant>
      <vt:variant>
        <vt:lpstr>Slide Titles</vt:lpstr>
      </vt:variant>
      <vt:variant>
        <vt:i4>30</vt:i4>
      </vt:variant>
    </vt:vector>
  </HeadingPairs>
  <TitlesOfParts>
    <vt:vector size="43" baseType="lpstr">
      <vt:lpstr>Arial</vt:lpstr>
      <vt:lpstr>Calibri</vt:lpstr>
      <vt:lpstr>Franklin Gothic Book</vt:lpstr>
      <vt:lpstr>Garamond</vt:lpstr>
      <vt:lpstr>Sylfaen</vt:lpstr>
      <vt:lpstr>Times</vt:lpstr>
      <vt:lpstr>Times New Roman</vt:lpstr>
      <vt:lpstr>Verdana</vt:lpstr>
      <vt:lpstr>Wingdings</vt:lpstr>
      <vt:lpstr>Standarddesign</vt:lpstr>
      <vt:lpstr>Packager Shell Object</vt:lpstr>
      <vt:lpstr>Bitmap Image</vt:lpstr>
      <vt:lpstr>think-cell Slide</vt:lpstr>
      <vt:lpstr>Aspects of a Thorough Anti-Corruption Strategy for Public Procurement</vt:lpstr>
      <vt:lpstr>Georgia:  Anti-Corruption in Procurement</vt:lpstr>
      <vt:lpstr>PowerPoint Presentation</vt:lpstr>
      <vt:lpstr>PowerPoint Presentation</vt:lpstr>
      <vt:lpstr>Tools for Fighting Corruption in Procurement</vt:lpstr>
      <vt:lpstr>Tender boards</vt:lpstr>
      <vt:lpstr>PowerPoint Presentation</vt:lpstr>
      <vt:lpstr>Transparency</vt:lpstr>
      <vt:lpstr>PowerPoint Presentation</vt:lpstr>
      <vt:lpstr>PowerPoint Presentation</vt:lpstr>
      <vt:lpstr>PowerPoint Presentation</vt:lpstr>
      <vt:lpstr>Whistleblower Protection</vt:lpstr>
      <vt:lpstr>PowerPoint Presentation</vt:lpstr>
      <vt:lpstr>Corporate Compliance</vt:lpstr>
      <vt:lpstr>PowerPoint Presentation</vt:lpstr>
      <vt:lpstr>PowerPoint Presentation</vt:lpstr>
      <vt:lpstr>PowerPoint Presentation</vt:lpstr>
      <vt:lpstr>PowerPoint Presentation</vt:lpstr>
      <vt:lpstr>Ethics:  Conflicts of Interest</vt:lpstr>
      <vt:lpstr>PowerPoint Presentation</vt:lpstr>
      <vt:lpstr>Exclusion and debarment</vt:lpstr>
      <vt:lpstr>PowerPoint Presentation</vt:lpstr>
      <vt:lpstr>PowerPoint Presentation</vt:lpstr>
      <vt:lpstr>U.S. Debarment - Discretionary</vt:lpstr>
      <vt:lpstr>World Bank Sanctions System</vt:lpstr>
      <vt:lpstr>PowerPoint Presentation</vt:lpstr>
      <vt:lpstr>Trinidad &amp; Tobago –  Example of Combined Approach</vt:lpstr>
      <vt:lpstr>PowerPoint Presentation</vt:lpstr>
      <vt:lpstr>PowerPoint Presenta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latka Matunec</dc:creator>
  <cp:lastModifiedBy>Yukins, Christopher R.</cp:lastModifiedBy>
  <cp:revision>159</cp:revision>
  <dcterms:created xsi:type="dcterms:W3CDTF">2019-01-21T11:34:50Z</dcterms:created>
  <dcterms:modified xsi:type="dcterms:W3CDTF">2019-10-25T12:04:36Z</dcterms:modified>
</cp:coreProperties>
</file>